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18"/>
  </p:notesMasterIdLst>
  <p:sldIdLst>
    <p:sldId id="344" r:id="rId2"/>
    <p:sldId id="345" r:id="rId3"/>
    <p:sldId id="354" r:id="rId4"/>
    <p:sldId id="356" r:id="rId5"/>
    <p:sldId id="360" r:id="rId6"/>
    <p:sldId id="346" r:id="rId7"/>
    <p:sldId id="353" r:id="rId8"/>
    <p:sldId id="361" r:id="rId9"/>
    <p:sldId id="347" r:id="rId10"/>
    <p:sldId id="348" r:id="rId11"/>
    <p:sldId id="349" r:id="rId12"/>
    <p:sldId id="350" r:id="rId13"/>
    <p:sldId id="351" r:id="rId14"/>
    <p:sldId id="352" r:id="rId15"/>
    <p:sldId id="363" r:id="rId16"/>
    <p:sldId id="362" r:id="rId17"/>
  </p:sldIdLst>
  <p:sldSz cx="9144000" cy="6858000" type="screen4x3"/>
  <p:notesSz cx="6797675" cy="9926638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>
          <p15:clr>
            <a:srgbClr val="A4A3A4"/>
          </p15:clr>
        </p15:guide>
        <p15:guide id="2" orient="horz" pos="3702">
          <p15:clr>
            <a:srgbClr val="A4A3A4"/>
          </p15:clr>
        </p15:guide>
        <p15:guide id="3" orient="horz" pos="2296">
          <p15:clr>
            <a:srgbClr val="A4A3A4"/>
          </p15:clr>
        </p15:guide>
        <p15:guide id="4" orient="horz" pos="2251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orient="horz" pos="4201">
          <p15:clr>
            <a:srgbClr val="A4A3A4"/>
          </p15:clr>
        </p15:guide>
        <p15:guide id="7" orient="horz" pos="2614">
          <p15:clr>
            <a:srgbClr val="A4A3A4"/>
          </p15:clr>
        </p15:guide>
        <p15:guide id="8" pos="249">
          <p15:clr>
            <a:srgbClr val="A4A3A4"/>
          </p15:clr>
        </p15:guide>
        <p15:guide id="9" pos="2857">
          <p15:clr>
            <a:srgbClr val="A4A3A4"/>
          </p15:clr>
        </p15:guide>
        <p15:guide id="10" pos="2903">
          <p15:clr>
            <a:srgbClr val="A4A3A4"/>
          </p15:clr>
        </p15:guide>
        <p15:guide id="11" pos="3787">
          <p15:clr>
            <a:srgbClr val="A4A3A4"/>
          </p15:clr>
        </p15:guide>
        <p15:guide id="12" pos="3742">
          <p15:clr>
            <a:srgbClr val="A4A3A4"/>
          </p15:clr>
        </p15:guide>
        <p15:guide id="13" pos="2018">
          <p15:clr>
            <a:srgbClr val="A4A3A4"/>
          </p15:clr>
        </p15:guide>
        <p15:guide id="14" pos="1973">
          <p15:clr>
            <a:srgbClr val="A4A3A4"/>
          </p15:clr>
        </p15:guide>
        <p15:guide id="15" pos="5511">
          <p15:clr>
            <a:srgbClr val="A4A3A4"/>
          </p15:clr>
        </p15:guide>
        <p15:guide id="16" pos="113">
          <p15:clr>
            <a:srgbClr val="A4A3A4"/>
          </p15:clr>
        </p15:guide>
        <p15:guide id="17" pos="5647">
          <p15:clr>
            <a:srgbClr val="A4A3A4"/>
          </p15:clr>
        </p15:guide>
        <p15:guide id="18" pos="546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ok, Leon (uic27710)" initials="BL(" lastIdx="1" clrIdx="0">
    <p:extLst>
      <p:ext uri="{19B8F6BF-5375-455C-9EA6-DF929625EA0E}">
        <p15:presenceInfo xmlns:p15="http://schemas.microsoft.com/office/powerpoint/2012/main" userId="S::uic27710@contiwan.com::3217206a-18cc-4c3c-b43c-c8f6da7a23e7" providerId="AD"/>
      </p:ext>
    </p:extLst>
  </p:cmAuthor>
  <p:cmAuthor id="2" name="Ratayczak, Lion (uic27707)" initials="RL(" lastIdx="1" clrIdx="1">
    <p:extLst>
      <p:ext uri="{19B8F6BF-5375-455C-9EA6-DF929625EA0E}">
        <p15:presenceInfo xmlns:p15="http://schemas.microsoft.com/office/powerpoint/2012/main" userId="S::uic27707@contiwan.com::ae943a63-3223-4834-bd06-5f39c1f17dc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EFE"/>
    <a:srgbClr val="FEFEFE"/>
    <a:srgbClr val="FEFEFF"/>
    <a:srgbClr val="FEFF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1E797F-B293-4B97-972A-0A308DEFA3F4}" v="792" dt="2022-02-23T12:32:18.355"/>
    <p1510:client id="{52250D77-4712-4221-8B62-FD199780E6A8}" v="52" dt="2022-02-23T11:34:46.639"/>
    <p1510:client id="{C8DD21BB-C274-4542-A148-137A41C0971D}" v="80" dt="2022-02-24T07:50:28.364"/>
    <p1510:client id="{DA311655-1C49-403F-8B50-C445413F8B0B}" v="51" dt="2022-02-24T07:54:43.870"/>
    <p1510:client id="{F0E6959B-941A-441F-BD4D-A21BB503F37B}" v="2" dt="2022-02-23T08:49:39.2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29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28" Type="http://schemas.openxmlformats.org/officeDocument/2006/relationships/customXml" Target="../customXml/item2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Relationship Id="rId27" Type="http://schemas.openxmlformats.org/officeDocument/2006/relationships/customXml" Target="../customXml/item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tayczak, Lion (uic27707)" userId="ae943a63-3223-4834-bd06-5f39c1f17dca" providerId="ADAL" clId="{091E797F-B293-4B97-972A-0A308DEFA3F4}"/>
    <pc:docChg chg="undo custSel addSld delSld modSld">
      <pc:chgData name="Ratayczak, Lion (uic27707)" userId="ae943a63-3223-4834-bd06-5f39c1f17dca" providerId="ADAL" clId="{091E797F-B293-4B97-972A-0A308DEFA3F4}" dt="2022-02-24T06:53:49.064" v="1482" actId="47"/>
      <pc:docMkLst>
        <pc:docMk/>
      </pc:docMkLst>
      <pc:sldChg chg="addSp delSp modSp mod">
        <pc:chgData name="Ratayczak, Lion (uic27707)" userId="ae943a63-3223-4834-bd06-5f39c1f17dca" providerId="ADAL" clId="{091E797F-B293-4B97-972A-0A308DEFA3F4}" dt="2022-02-23T12:34:29.688" v="1454" actId="20577"/>
        <pc:sldMkLst>
          <pc:docMk/>
          <pc:sldMk cId="0" sldId="344"/>
        </pc:sldMkLst>
        <pc:spChg chg="mod">
          <ac:chgData name="Ratayczak, Lion (uic27707)" userId="ae943a63-3223-4834-bd06-5f39c1f17dca" providerId="ADAL" clId="{091E797F-B293-4B97-972A-0A308DEFA3F4}" dt="2022-02-23T12:34:29.688" v="1454" actId="20577"/>
          <ac:spMkLst>
            <pc:docMk/>
            <pc:sldMk cId="0" sldId="344"/>
            <ac:spMk id="5" creationId="{00000000-0000-0000-0000-000000000000}"/>
          </ac:spMkLst>
        </pc:spChg>
        <pc:picChg chg="del">
          <ac:chgData name="Ratayczak, Lion (uic27707)" userId="ae943a63-3223-4834-bd06-5f39c1f17dca" providerId="ADAL" clId="{091E797F-B293-4B97-972A-0A308DEFA3F4}" dt="2022-02-22T07:29:03.561" v="189" actId="478"/>
          <ac:picMkLst>
            <pc:docMk/>
            <pc:sldMk cId="0" sldId="344"/>
            <ac:picMk id="7" creationId="{1AD9AEF2-3D00-4040-8498-3A420FAC770F}"/>
          </ac:picMkLst>
        </pc:picChg>
        <pc:picChg chg="add mod ord modCrop">
          <ac:chgData name="Ratayczak, Lion (uic27707)" userId="ae943a63-3223-4834-bd06-5f39c1f17dca" providerId="ADAL" clId="{091E797F-B293-4B97-972A-0A308DEFA3F4}" dt="2022-02-22T07:30:30.695" v="203" actId="1076"/>
          <ac:picMkLst>
            <pc:docMk/>
            <pc:sldMk cId="0" sldId="344"/>
            <ac:picMk id="8" creationId="{E18B03C5-3FD9-464E-8A98-0387DE793D41}"/>
          </ac:picMkLst>
        </pc:picChg>
      </pc:sldChg>
      <pc:sldChg chg="addSp delSp modSp mod">
        <pc:chgData name="Ratayczak, Lion (uic27707)" userId="ae943a63-3223-4834-bd06-5f39c1f17dca" providerId="ADAL" clId="{091E797F-B293-4B97-972A-0A308DEFA3F4}" dt="2022-02-24T06:53:35.976" v="1481" actId="6549"/>
        <pc:sldMkLst>
          <pc:docMk/>
          <pc:sldMk cId="0" sldId="345"/>
        </pc:sldMkLst>
        <pc:spChg chg="mod">
          <ac:chgData name="Ratayczak, Lion (uic27707)" userId="ae943a63-3223-4834-bd06-5f39c1f17dca" providerId="ADAL" clId="{091E797F-B293-4B97-972A-0A308DEFA3F4}" dt="2022-02-24T06:53:35.976" v="1481" actId="6549"/>
          <ac:spMkLst>
            <pc:docMk/>
            <pc:sldMk cId="0" sldId="345"/>
            <ac:spMk id="2" creationId="{00000000-0000-0000-0000-000000000000}"/>
          </ac:spMkLst>
        </pc:spChg>
        <pc:spChg chg="mod">
          <ac:chgData name="Ratayczak, Lion (uic27707)" userId="ae943a63-3223-4834-bd06-5f39c1f17dca" providerId="ADAL" clId="{091E797F-B293-4B97-972A-0A308DEFA3F4}" dt="2022-02-24T06:53:17.032" v="1476" actId="6549"/>
          <ac:spMkLst>
            <pc:docMk/>
            <pc:sldMk cId="0" sldId="345"/>
            <ac:spMk id="3" creationId="{00000000-0000-0000-0000-000000000000}"/>
          </ac:spMkLst>
        </pc:spChg>
        <pc:picChg chg="add del mod modCrop">
          <ac:chgData name="Ratayczak, Lion (uic27707)" userId="ae943a63-3223-4834-bd06-5f39c1f17dca" providerId="ADAL" clId="{091E797F-B293-4B97-972A-0A308DEFA3F4}" dt="2022-02-22T12:16:55.202" v="1106" actId="21"/>
          <ac:picMkLst>
            <pc:docMk/>
            <pc:sldMk cId="0" sldId="345"/>
            <ac:picMk id="7" creationId="{2BD31098-5943-4F8E-B8D1-D5D2B7733A23}"/>
          </ac:picMkLst>
        </pc:picChg>
        <pc:picChg chg="add del mod">
          <ac:chgData name="Ratayczak, Lion (uic27707)" userId="ae943a63-3223-4834-bd06-5f39c1f17dca" providerId="ADAL" clId="{091E797F-B293-4B97-972A-0A308DEFA3F4}" dt="2022-02-22T12:21:36.317" v="1117" actId="478"/>
          <ac:picMkLst>
            <pc:docMk/>
            <pc:sldMk cId="0" sldId="345"/>
            <ac:picMk id="8" creationId="{7F57EAC0-4701-4F39-81B4-D14A02E0F304}"/>
          </ac:picMkLst>
        </pc:picChg>
        <pc:picChg chg="add mod modCrop">
          <ac:chgData name="Ratayczak, Lion (uic27707)" userId="ae943a63-3223-4834-bd06-5f39c1f17dca" providerId="ADAL" clId="{091E797F-B293-4B97-972A-0A308DEFA3F4}" dt="2022-02-23T12:33:50.943" v="1396" actId="1076"/>
          <ac:picMkLst>
            <pc:docMk/>
            <pc:sldMk cId="0" sldId="345"/>
            <ac:picMk id="8" creationId="{BF92CE06-8AEF-4015-B99D-AD20A0AB22B6}"/>
          </ac:picMkLst>
        </pc:picChg>
      </pc:sldChg>
      <pc:sldChg chg="addSp delSp modSp mod modClrScheme chgLayout">
        <pc:chgData name="Ratayczak, Lion (uic27707)" userId="ae943a63-3223-4834-bd06-5f39c1f17dca" providerId="ADAL" clId="{091E797F-B293-4B97-972A-0A308DEFA3F4}" dt="2022-02-24T06:53:14.187" v="1474" actId="20577"/>
        <pc:sldMkLst>
          <pc:docMk/>
          <pc:sldMk cId="437841381" sldId="354"/>
        </pc:sldMkLst>
        <pc:spChg chg="mod">
          <ac:chgData name="Ratayczak, Lion (uic27707)" userId="ae943a63-3223-4834-bd06-5f39c1f17dca" providerId="ADAL" clId="{091E797F-B293-4B97-972A-0A308DEFA3F4}" dt="2022-02-22T12:17:51.693" v="1116" actId="26606"/>
          <ac:spMkLst>
            <pc:docMk/>
            <pc:sldMk cId="437841381" sldId="354"/>
            <ac:spMk id="2" creationId="{4BB86BEE-CDB1-45E4-B26B-9FC27652F6B8}"/>
          </ac:spMkLst>
        </pc:spChg>
        <pc:spChg chg="mod">
          <ac:chgData name="Ratayczak, Lion (uic27707)" userId="ae943a63-3223-4834-bd06-5f39c1f17dca" providerId="ADAL" clId="{091E797F-B293-4B97-972A-0A308DEFA3F4}" dt="2022-02-24T06:53:14.187" v="1474" actId="20577"/>
          <ac:spMkLst>
            <pc:docMk/>
            <pc:sldMk cId="437841381" sldId="354"/>
            <ac:spMk id="3" creationId="{676A0EBB-9B3E-4EDF-BD34-CAB9B435EE6F}"/>
          </ac:spMkLst>
        </pc:spChg>
        <pc:spChg chg="mod">
          <ac:chgData name="Ratayczak, Lion (uic27707)" userId="ae943a63-3223-4834-bd06-5f39c1f17dca" providerId="ADAL" clId="{091E797F-B293-4B97-972A-0A308DEFA3F4}" dt="2022-02-22T12:17:51.693" v="1116" actId="26606"/>
          <ac:spMkLst>
            <pc:docMk/>
            <pc:sldMk cId="437841381" sldId="354"/>
            <ac:spMk id="4" creationId="{FA0DDBFA-BC56-4D65-A547-36BF348C02FD}"/>
          </ac:spMkLst>
        </pc:spChg>
        <pc:spChg chg="mod">
          <ac:chgData name="Ratayczak, Lion (uic27707)" userId="ae943a63-3223-4834-bd06-5f39c1f17dca" providerId="ADAL" clId="{091E797F-B293-4B97-972A-0A308DEFA3F4}" dt="2022-02-22T12:17:51.693" v="1116" actId="26606"/>
          <ac:spMkLst>
            <pc:docMk/>
            <pc:sldMk cId="437841381" sldId="354"/>
            <ac:spMk id="5" creationId="{2D6239D2-17D1-4F73-94E1-3B9EB156A312}"/>
          </ac:spMkLst>
        </pc:spChg>
        <pc:spChg chg="mod">
          <ac:chgData name="Ratayczak, Lion (uic27707)" userId="ae943a63-3223-4834-bd06-5f39c1f17dca" providerId="ADAL" clId="{091E797F-B293-4B97-972A-0A308DEFA3F4}" dt="2022-02-22T12:17:51.693" v="1116" actId="26606"/>
          <ac:spMkLst>
            <pc:docMk/>
            <pc:sldMk cId="437841381" sldId="354"/>
            <ac:spMk id="6" creationId="{244C012F-54BC-4C79-830F-17AED18AFDF5}"/>
          </ac:spMkLst>
        </pc:spChg>
        <pc:spChg chg="add del mod">
          <ac:chgData name="Ratayczak, Lion (uic27707)" userId="ae943a63-3223-4834-bd06-5f39c1f17dca" providerId="ADAL" clId="{091E797F-B293-4B97-972A-0A308DEFA3F4}" dt="2022-02-23T08:52:55.759" v="1237"/>
          <ac:spMkLst>
            <pc:docMk/>
            <pc:sldMk cId="437841381" sldId="354"/>
            <ac:spMk id="11" creationId="{13E05C77-35EF-4A3F-9B19-E21BA724BF93}"/>
          </ac:spMkLst>
        </pc:spChg>
        <pc:picChg chg="add mod modCrop">
          <ac:chgData name="Ratayczak, Lion (uic27707)" userId="ae943a63-3223-4834-bd06-5f39c1f17dca" providerId="ADAL" clId="{091E797F-B293-4B97-972A-0A308DEFA3F4}" dt="2022-02-23T08:54:38.522" v="1274" actId="1076"/>
          <ac:picMkLst>
            <pc:docMk/>
            <pc:sldMk cId="437841381" sldId="354"/>
            <ac:picMk id="8" creationId="{A3A77405-5B8F-4C06-8716-0E1BE96E5754}"/>
          </ac:picMkLst>
        </pc:picChg>
        <pc:picChg chg="add mod">
          <ac:chgData name="Ratayczak, Lion (uic27707)" userId="ae943a63-3223-4834-bd06-5f39c1f17dca" providerId="ADAL" clId="{091E797F-B293-4B97-972A-0A308DEFA3F4}" dt="2022-02-23T08:54:18.074" v="1269" actId="1076"/>
          <ac:picMkLst>
            <pc:docMk/>
            <pc:sldMk cId="437841381" sldId="354"/>
            <ac:picMk id="10" creationId="{5B174756-A663-462C-9AB1-DA7ADA0F8B31}"/>
          </ac:picMkLst>
        </pc:picChg>
        <pc:picChg chg="add mod modCrop">
          <ac:chgData name="Ratayczak, Lion (uic27707)" userId="ae943a63-3223-4834-bd06-5f39c1f17dca" providerId="ADAL" clId="{091E797F-B293-4B97-972A-0A308DEFA3F4}" dt="2022-02-23T08:54:26.861" v="1270" actId="1076"/>
          <ac:picMkLst>
            <pc:docMk/>
            <pc:sldMk cId="437841381" sldId="354"/>
            <ac:picMk id="13" creationId="{9F1FEB07-B023-4774-AD5E-999A008E78FB}"/>
          </ac:picMkLst>
        </pc:picChg>
      </pc:sldChg>
      <pc:sldChg chg="modSp del mod">
        <pc:chgData name="Ratayczak, Lion (uic27707)" userId="ae943a63-3223-4834-bd06-5f39c1f17dca" providerId="ADAL" clId="{091E797F-B293-4B97-972A-0A308DEFA3F4}" dt="2022-02-22T07:22:47.425" v="148" actId="2696"/>
        <pc:sldMkLst>
          <pc:docMk/>
          <pc:sldMk cId="2119684422" sldId="355"/>
        </pc:sldMkLst>
        <pc:spChg chg="mod">
          <ac:chgData name="Ratayczak, Lion (uic27707)" userId="ae943a63-3223-4834-bd06-5f39c1f17dca" providerId="ADAL" clId="{091E797F-B293-4B97-972A-0A308DEFA3F4}" dt="2022-02-22T07:22:47.073" v="146" actId="12"/>
          <ac:spMkLst>
            <pc:docMk/>
            <pc:sldMk cId="2119684422" sldId="355"/>
            <ac:spMk id="2" creationId="{EB09A3DC-59E1-4570-ADA7-2B94F4E2C5D8}"/>
          </ac:spMkLst>
        </pc:spChg>
      </pc:sldChg>
      <pc:sldChg chg="addSp delSp modSp add mod addCm delCm">
        <pc:chgData name="Ratayczak, Lion (uic27707)" userId="ae943a63-3223-4834-bd06-5f39c1f17dca" providerId="ADAL" clId="{091E797F-B293-4B97-972A-0A308DEFA3F4}" dt="2022-02-24T06:53:10.703" v="1472" actId="6549"/>
        <pc:sldMkLst>
          <pc:docMk/>
          <pc:sldMk cId="465523889" sldId="356"/>
        </pc:sldMkLst>
        <pc:spChg chg="mod">
          <ac:chgData name="Ratayczak, Lion (uic27707)" userId="ae943a63-3223-4834-bd06-5f39c1f17dca" providerId="ADAL" clId="{091E797F-B293-4B97-972A-0A308DEFA3F4}" dt="2022-02-22T12:29:24.157" v="1182" actId="1076"/>
          <ac:spMkLst>
            <pc:docMk/>
            <pc:sldMk cId="465523889" sldId="356"/>
            <ac:spMk id="2" creationId="{EB09A3DC-59E1-4570-ADA7-2B94F4E2C5D8}"/>
          </ac:spMkLst>
        </pc:spChg>
        <pc:spChg chg="mod">
          <ac:chgData name="Ratayczak, Lion (uic27707)" userId="ae943a63-3223-4834-bd06-5f39c1f17dca" providerId="ADAL" clId="{091E797F-B293-4B97-972A-0A308DEFA3F4}" dt="2022-02-24T06:53:10.703" v="1472" actId="6549"/>
          <ac:spMkLst>
            <pc:docMk/>
            <pc:sldMk cId="465523889" sldId="356"/>
            <ac:spMk id="3" creationId="{54CB27D9-9C08-486E-8354-572359EA63AB}"/>
          </ac:spMkLst>
        </pc:spChg>
        <pc:picChg chg="add del mod modCrop">
          <ac:chgData name="Ratayczak, Lion (uic27707)" userId="ae943a63-3223-4834-bd06-5f39c1f17dca" providerId="ADAL" clId="{091E797F-B293-4B97-972A-0A308DEFA3F4}" dt="2022-02-22T12:26:12.772" v="1140" actId="478"/>
          <ac:picMkLst>
            <pc:docMk/>
            <pc:sldMk cId="465523889" sldId="356"/>
            <ac:picMk id="8" creationId="{069A6613-79CD-4EE9-9B85-A1F80607B51A}"/>
          </ac:picMkLst>
        </pc:picChg>
        <pc:picChg chg="add mod modCrop">
          <ac:chgData name="Ratayczak, Lion (uic27707)" userId="ae943a63-3223-4834-bd06-5f39c1f17dca" providerId="ADAL" clId="{091E797F-B293-4B97-972A-0A308DEFA3F4}" dt="2022-02-23T08:52:15.868" v="1235" actId="1076"/>
          <ac:picMkLst>
            <pc:docMk/>
            <pc:sldMk cId="465523889" sldId="356"/>
            <ac:picMk id="8" creationId="{E1FF9225-19B4-4E9C-B16B-A4220228EBE6}"/>
          </ac:picMkLst>
        </pc:picChg>
        <pc:picChg chg="add del mod modCrop">
          <ac:chgData name="Ratayczak, Lion (uic27707)" userId="ae943a63-3223-4834-bd06-5f39c1f17dca" providerId="ADAL" clId="{091E797F-B293-4B97-972A-0A308DEFA3F4}" dt="2022-02-22T12:26:13.509" v="1141" actId="478"/>
          <ac:picMkLst>
            <pc:docMk/>
            <pc:sldMk cId="465523889" sldId="356"/>
            <ac:picMk id="10" creationId="{E00E6C62-B2E3-4EEA-B55F-60BB70C8CABE}"/>
          </ac:picMkLst>
        </pc:picChg>
        <pc:picChg chg="add mod modCrop">
          <ac:chgData name="Ratayczak, Lion (uic27707)" userId="ae943a63-3223-4834-bd06-5f39c1f17dca" providerId="ADAL" clId="{091E797F-B293-4B97-972A-0A308DEFA3F4}" dt="2022-02-23T08:52:17.898" v="1236" actId="1076"/>
          <ac:picMkLst>
            <pc:docMk/>
            <pc:sldMk cId="465523889" sldId="356"/>
            <ac:picMk id="12" creationId="{F1BD3E56-AE17-44B5-B42F-F1AB72B6D024}"/>
          </ac:picMkLst>
        </pc:picChg>
        <pc:picChg chg="add del mod">
          <ac:chgData name="Ratayczak, Lion (uic27707)" userId="ae943a63-3223-4834-bd06-5f39c1f17dca" providerId="ADAL" clId="{091E797F-B293-4B97-972A-0A308DEFA3F4}" dt="2022-02-22T12:26:56.828" v="1156" actId="478"/>
          <ac:picMkLst>
            <pc:docMk/>
            <pc:sldMk cId="465523889" sldId="356"/>
            <ac:picMk id="14" creationId="{EFB11A12-B79C-4F79-9B4D-7A1DA3B390ED}"/>
          </ac:picMkLst>
        </pc:picChg>
        <pc:picChg chg="add mod modCrop">
          <ac:chgData name="Ratayczak, Lion (uic27707)" userId="ae943a63-3223-4834-bd06-5f39c1f17dca" providerId="ADAL" clId="{091E797F-B293-4B97-972A-0A308DEFA3F4}" dt="2022-02-22T12:29:44.051" v="1188" actId="1076"/>
          <ac:picMkLst>
            <pc:docMk/>
            <pc:sldMk cId="465523889" sldId="356"/>
            <ac:picMk id="15" creationId="{B57BE832-4EAA-4A54-BEAC-DBE406FC7520}"/>
          </ac:picMkLst>
        </pc:picChg>
        <pc:picChg chg="add mod modCrop">
          <ac:chgData name="Ratayczak, Lion (uic27707)" userId="ae943a63-3223-4834-bd06-5f39c1f17dca" providerId="ADAL" clId="{091E797F-B293-4B97-972A-0A308DEFA3F4}" dt="2022-02-22T12:29:42.371" v="1187" actId="1076"/>
          <ac:picMkLst>
            <pc:docMk/>
            <pc:sldMk cId="465523889" sldId="356"/>
            <ac:picMk id="17" creationId="{C663995D-6E7E-43CA-A6F1-9BA32A65EA2A}"/>
          </ac:picMkLst>
        </pc:picChg>
      </pc:sldChg>
      <pc:sldChg chg="modSp new del mod">
        <pc:chgData name="Ratayczak, Lion (uic27707)" userId="ae943a63-3223-4834-bd06-5f39c1f17dca" providerId="ADAL" clId="{091E797F-B293-4B97-972A-0A308DEFA3F4}" dt="2022-02-22T07:33:01.363" v="273" actId="2696"/>
        <pc:sldMkLst>
          <pc:docMk/>
          <pc:sldMk cId="815952288" sldId="357"/>
        </pc:sldMkLst>
        <pc:spChg chg="mod">
          <ac:chgData name="Ratayczak, Lion (uic27707)" userId="ae943a63-3223-4834-bd06-5f39c1f17dca" providerId="ADAL" clId="{091E797F-B293-4B97-972A-0A308DEFA3F4}" dt="2022-02-22T07:33:01.170" v="271" actId="12"/>
          <ac:spMkLst>
            <pc:docMk/>
            <pc:sldMk cId="815952288" sldId="357"/>
            <ac:spMk id="2" creationId="{500A7B3C-7B8F-4137-8BB7-C51B7DE0D8EA}"/>
          </ac:spMkLst>
        </pc:spChg>
        <pc:spChg chg="mod">
          <ac:chgData name="Ratayczak, Lion (uic27707)" userId="ae943a63-3223-4834-bd06-5f39c1f17dca" providerId="ADAL" clId="{091E797F-B293-4B97-972A-0A308DEFA3F4}" dt="2022-02-22T07:32:01.458" v="264" actId="5793"/>
          <ac:spMkLst>
            <pc:docMk/>
            <pc:sldMk cId="815952288" sldId="357"/>
            <ac:spMk id="3" creationId="{2A1BD64E-048C-42DB-9C1A-7CDF41B2D051}"/>
          </ac:spMkLst>
        </pc:spChg>
      </pc:sldChg>
      <pc:sldChg chg="modSp add del mod">
        <pc:chgData name="Ratayczak, Lion (uic27707)" userId="ae943a63-3223-4834-bd06-5f39c1f17dca" providerId="ADAL" clId="{091E797F-B293-4B97-972A-0A308DEFA3F4}" dt="2022-02-22T07:33:39.377" v="311" actId="2696"/>
        <pc:sldMkLst>
          <pc:docMk/>
          <pc:sldMk cId="154963100" sldId="358"/>
        </pc:sldMkLst>
        <pc:spChg chg="mod">
          <ac:chgData name="Ratayczak, Lion (uic27707)" userId="ae943a63-3223-4834-bd06-5f39c1f17dca" providerId="ADAL" clId="{091E797F-B293-4B97-972A-0A308DEFA3F4}" dt="2022-02-22T07:33:39.182" v="309" actId="12"/>
          <ac:spMkLst>
            <pc:docMk/>
            <pc:sldMk cId="154963100" sldId="358"/>
            <ac:spMk id="2" creationId="{500A7B3C-7B8F-4137-8BB7-C51B7DE0D8EA}"/>
          </ac:spMkLst>
        </pc:spChg>
      </pc:sldChg>
      <pc:sldChg chg="modSp add del mod">
        <pc:chgData name="Ratayczak, Lion (uic27707)" userId="ae943a63-3223-4834-bd06-5f39c1f17dca" providerId="ADAL" clId="{091E797F-B293-4B97-972A-0A308DEFA3F4}" dt="2022-02-22T07:46:20.556" v="609" actId="2696"/>
        <pc:sldMkLst>
          <pc:docMk/>
          <pc:sldMk cId="3751268043" sldId="359"/>
        </pc:sldMkLst>
        <pc:spChg chg="mod">
          <ac:chgData name="Ratayczak, Lion (uic27707)" userId="ae943a63-3223-4834-bd06-5f39c1f17dca" providerId="ADAL" clId="{091E797F-B293-4B97-972A-0A308DEFA3F4}" dt="2022-02-22T07:46:20.333" v="607" actId="12"/>
          <ac:spMkLst>
            <pc:docMk/>
            <pc:sldMk cId="3751268043" sldId="359"/>
            <ac:spMk id="2" creationId="{500A7B3C-7B8F-4137-8BB7-C51B7DE0D8EA}"/>
          </ac:spMkLst>
        </pc:spChg>
      </pc:sldChg>
      <pc:sldChg chg="addSp delSp modSp add del mod">
        <pc:chgData name="Ratayczak, Lion (uic27707)" userId="ae943a63-3223-4834-bd06-5f39c1f17dca" providerId="ADAL" clId="{091E797F-B293-4B97-972A-0A308DEFA3F4}" dt="2022-02-23T09:07:33.251" v="1369" actId="1076"/>
        <pc:sldMkLst>
          <pc:docMk/>
          <pc:sldMk cId="51739248" sldId="360"/>
        </pc:sldMkLst>
        <pc:spChg chg="mod">
          <ac:chgData name="Ratayczak, Lion (uic27707)" userId="ae943a63-3223-4834-bd06-5f39c1f17dca" providerId="ADAL" clId="{091E797F-B293-4B97-972A-0A308DEFA3F4}" dt="2022-02-23T09:07:15.119" v="1360" actId="20577"/>
          <ac:spMkLst>
            <pc:docMk/>
            <pc:sldMk cId="51739248" sldId="360"/>
            <ac:spMk id="2" creationId="{500A7B3C-7B8F-4137-8BB7-C51B7DE0D8EA}"/>
          </ac:spMkLst>
        </pc:spChg>
        <pc:spChg chg="add del">
          <ac:chgData name="Ratayczak, Lion (uic27707)" userId="ae943a63-3223-4834-bd06-5f39c1f17dca" providerId="ADAL" clId="{091E797F-B293-4B97-972A-0A308DEFA3F4}" dt="2022-02-23T08:58:04.263" v="1295" actId="478"/>
          <ac:spMkLst>
            <pc:docMk/>
            <pc:sldMk cId="51739248" sldId="360"/>
            <ac:spMk id="9" creationId="{7EEF6835-ACCA-45E6-8989-E558CA3F79C6}"/>
          </ac:spMkLst>
        </pc:spChg>
        <pc:spChg chg="add del mod">
          <ac:chgData name="Ratayczak, Lion (uic27707)" userId="ae943a63-3223-4834-bd06-5f39c1f17dca" providerId="ADAL" clId="{091E797F-B293-4B97-972A-0A308DEFA3F4}" dt="2022-02-23T09:00:50.092" v="1300" actId="478"/>
          <ac:spMkLst>
            <pc:docMk/>
            <pc:sldMk cId="51739248" sldId="360"/>
            <ac:spMk id="10" creationId="{0BB98B8F-3A6B-4AE1-A35D-5F245A568724}"/>
          </ac:spMkLst>
        </pc:spChg>
        <pc:spChg chg="add mod">
          <ac:chgData name="Ratayczak, Lion (uic27707)" userId="ae943a63-3223-4834-bd06-5f39c1f17dca" providerId="ADAL" clId="{091E797F-B293-4B97-972A-0A308DEFA3F4}" dt="2022-02-23T09:04:58.370" v="1321" actId="1582"/>
          <ac:spMkLst>
            <pc:docMk/>
            <pc:sldMk cId="51739248" sldId="360"/>
            <ac:spMk id="11" creationId="{D58B90BB-BD16-477F-BBF5-5830E5060719}"/>
          </ac:spMkLst>
        </pc:spChg>
        <pc:spChg chg="add mod">
          <ac:chgData name="Ratayczak, Lion (uic27707)" userId="ae943a63-3223-4834-bd06-5f39c1f17dca" providerId="ADAL" clId="{091E797F-B293-4B97-972A-0A308DEFA3F4}" dt="2022-02-23T09:05:15.249" v="1325" actId="1582"/>
          <ac:spMkLst>
            <pc:docMk/>
            <pc:sldMk cId="51739248" sldId="360"/>
            <ac:spMk id="12" creationId="{ABB2F843-0DCD-42FD-A926-5F7018B41BE5}"/>
          </ac:spMkLst>
        </pc:spChg>
        <pc:spChg chg="add del mod">
          <ac:chgData name="Ratayczak, Lion (uic27707)" userId="ae943a63-3223-4834-bd06-5f39c1f17dca" providerId="ADAL" clId="{091E797F-B293-4B97-972A-0A308DEFA3F4}" dt="2022-02-23T09:06:00.435" v="1329" actId="478"/>
          <ac:spMkLst>
            <pc:docMk/>
            <pc:sldMk cId="51739248" sldId="360"/>
            <ac:spMk id="14" creationId="{E6974310-33BF-4323-A312-BA0C521FFC7D}"/>
          </ac:spMkLst>
        </pc:spChg>
        <pc:spChg chg="add del mod">
          <ac:chgData name="Ratayczak, Lion (uic27707)" userId="ae943a63-3223-4834-bd06-5f39c1f17dca" providerId="ADAL" clId="{091E797F-B293-4B97-972A-0A308DEFA3F4}" dt="2022-02-23T09:06:53.443" v="1333" actId="478"/>
          <ac:spMkLst>
            <pc:docMk/>
            <pc:sldMk cId="51739248" sldId="360"/>
            <ac:spMk id="15" creationId="{FCD4EE6B-EC33-4DE8-B391-06A38E69C95A}"/>
          </ac:spMkLst>
        </pc:spChg>
        <pc:grpChg chg="add mod">
          <ac:chgData name="Ratayczak, Lion (uic27707)" userId="ae943a63-3223-4834-bd06-5f39c1f17dca" providerId="ADAL" clId="{091E797F-B293-4B97-972A-0A308DEFA3F4}" dt="2022-02-23T09:07:33.251" v="1369" actId="1076"/>
          <ac:grpSpMkLst>
            <pc:docMk/>
            <pc:sldMk cId="51739248" sldId="360"/>
            <ac:grpSpMk id="13" creationId="{7D55F517-E536-42D5-94A0-8976C45D7DE2}"/>
          </ac:grpSpMkLst>
        </pc:grpChg>
        <pc:picChg chg="add mod modCrop">
          <ac:chgData name="Ratayczak, Lion (uic27707)" userId="ae943a63-3223-4834-bd06-5f39c1f17dca" providerId="ADAL" clId="{091E797F-B293-4B97-972A-0A308DEFA3F4}" dt="2022-02-23T09:04:30.536" v="1318" actId="164"/>
          <ac:picMkLst>
            <pc:docMk/>
            <pc:sldMk cId="51739248" sldId="360"/>
            <ac:picMk id="8" creationId="{9F4E5801-F2DB-42F4-8DBE-4BD4C873B2E0}"/>
          </ac:picMkLst>
        </pc:picChg>
      </pc:sldChg>
      <pc:sldChg chg="addSp delSp modSp add del mod">
        <pc:chgData name="Ratayczak, Lion (uic27707)" userId="ae943a63-3223-4834-bd06-5f39c1f17dca" providerId="ADAL" clId="{091E797F-B293-4B97-972A-0A308DEFA3F4}" dt="2022-02-22T07:47:03.869" v="717"/>
        <pc:sldMkLst>
          <pc:docMk/>
          <pc:sldMk cId="1086970488" sldId="361"/>
        </pc:sldMkLst>
        <pc:spChg chg="mod">
          <ac:chgData name="Ratayczak, Lion (uic27707)" userId="ae943a63-3223-4834-bd06-5f39c1f17dca" providerId="ADAL" clId="{091E797F-B293-4B97-972A-0A308DEFA3F4}" dt="2022-02-22T07:47:03.694" v="715" actId="20577"/>
          <ac:spMkLst>
            <pc:docMk/>
            <pc:sldMk cId="1086970488" sldId="361"/>
            <ac:spMk id="2" creationId="{500A7B3C-7B8F-4137-8BB7-C51B7DE0D8EA}"/>
          </ac:spMkLst>
        </pc:spChg>
        <pc:grpChg chg="add del mod">
          <ac:chgData name="Ratayczak, Lion (uic27707)" userId="ae943a63-3223-4834-bd06-5f39c1f17dca" providerId="ADAL" clId="{091E797F-B293-4B97-972A-0A308DEFA3F4}" dt="2022-02-22T07:47:02.384" v="711"/>
          <ac:grpSpMkLst>
            <pc:docMk/>
            <pc:sldMk cId="1086970488" sldId="361"/>
            <ac:grpSpMk id="7" creationId="{0ED73F0E-3B34-4EBC-B009-61A977F08940}"/>
          </ac:grpSpMkLst>
        </pc:grpChg>
        <pc:picChg chg="add mod">
          <ac:chgData name="Ratayczak, Lion (uic27707)" userId="ae943a63-3223-4834-bd06-5f39c1f17dca" providerId="ADAL" clId="{091E797F-B293-4B97-972A-0A308DEFA3F4}" dt="2022-02-22T07:47:02.384" v="711"/>
          <ac:picMkLst>
            <pc:docMk/>
            <pc:sldMk cId="1086970488" sldId="361"/>
            <ac:picMk id="8" creationId="{636A343A-2048-4D88-BA78-CCA43CF0C907}"/>
          </ac:picMkLst>
        </pc:picChg>
        <pc:picChg chg="add mod">
          <ac:chgData name="Ratayczak, Lion (uic27707)" userId="ae943a63-3223-4834-bd06-5f39c1f17dca" providerId="ADAL" clId="{091E797F-B293-4B97-972A-0A308DEFA3F4}" dt="2022-02-22T07:47:02.384" v="711"/>
          <ac:picMkLst>
            <pc:docMk/>
            <pc:sldMk cId="1086970488" sldId="361"/>
            <ac:picMk id="9" creationId="{63A5DF82-D961-4A7A-B2E4-9190FCCCCBF9}"/>
          </ac:picMkLst>
        </pc:picChg>
      </pc:sldChg>
      <pc:sldChg chg="modSp new del mod">
        <pc:chgData name="Ratayczak, Lion (uic27707)" userId="ae943a63-3223-4834-bd06-5f39c1f17dca" providerId="ADAL" clId="{091E797F-B293-4B97-972A-0A308DEFA3F4}" dt="2022-02-24T06:53:49.064" v="1482" actId="47"/>
        <pc:sldMkLst>
          <pc:docMk/>
          <pc:sldMk cId="3870977273" sldId="364"/>
        </pc:sldMkLst>
        <pc:spChg chg="mod">
          <ac:chgData name="Ratayczak, Lion (uic27707)" userId="ae943a63-3223-4834-bd06-5f39c1f17dca" providerId="ADAL" clId="{091E797F-B293-4B97-972A-0A308DEFA3F4}" dt="2022-02-24T06:52:40.688" v="1464" actId="20577"/>
          <ac:spMkLst>
            <pc:docMk/>
            <pc:sldMk cId="3870977273" sldId="364"/>
            <ac:spMk id="3" creationId="{A72FEC7F-429E-4F33-95F5-637B9FB9A643}"/>
          </ac:spMkLst>
        </pc:spChg>
      </pc:sldChg>
    </pc:docChg>
  </pc:docChgLst>
  <pc:docChgLst>
    <pc:chgData name="Book, Leon (uic27710)" userId="S::uic27710@contiwan.com::3217206a-18cc-4c3c-b43c-c8f6da7a23e7" providerId="AD" clId="Web-{DA311655-1C49-403F-8B50-C445413F8B0B}"/>
    <pc:docChg chg="modSld">
      <pc:chgData name="Book, Leon (uic27710)" userId="S::uic27710@contiwan.com::3217206a-18cc-4c3c-b43c-c8f6da7a23e7" providerId="AD" clId="Web-{DA311655-1C49-403F-8B50-C445413F8B0B}" dt="2022-02-24T07:54:43.870" v="50" actId="20577"/>
      <pc:docMkLst>
        <pc:docMk/>
      </pc:docMkLst>
      <pc:sldChg chg="modSp">
        <pc:chgData name="Book, Leon (uic27710)" userId="S::uic27710@contiwan.com::3217206a-18cc-4c3c-b43c-c8f6da7a23e7" providerId="AD" clId="Web-{DA311655-1C49-403F-8B50-C445413F8B0B}" dt="2022-02-24T07:54:43.870" v="50" actId="20577"/>
        <pc:sldMkLst>
          <pc:docMk/>
          <pc:sldMk cId="2896708432" sldId="352"/>
        </pc:sldMkLst>
        <pc:spChg chg="mod">
          <ac:chgData name="Book, Leon (uic27710)" userId="S::uic27710@contiwan.com::3217206a-18cc-4c3c-b43c-c8f6da7a23e7" providerId="AD" clId="Web-{DA311655-1C49-403F-8B50-C445413F8B0B}" dt="2022-02-24T07:54:43.870" v="50" actId="20577"/>
          <ac:spMkLst>
            <pc:docMk/>
            <pc:sldMk cId="2896708432" sldId="352"/>
            <ac:spMk id="11" creationId="{E9C09BD4-0FAF-4BE3-8FCE-8EF9845D0215}"/>
          </ac:spMkLst>
        </pc:spChg>
      </pc:sldChg>
      <pc:sldChg chg="modSp">
        <pc:chgData name="Book, Leon (uic27710)" userId="S::uic27710@contiwan.com::3217206a-18cc-4c3c-b43c-c8f6da7a23e7" providerId="AD" clId="Web-{DA311655-1C49-403F-8B50-C445413F8B0B}" dt="2022-02-24T07:46:09.342" v="7" actId="20577"/>
        <pc:sldMkLst>
          <pc:docMk/>
          <pc:sldMk cId="2471702365" sldId="361"/>
        </pc:sldMkLst>
        <pc:spChg chg="mod">
          <ac:chgData name="Book, Leon (uic27710)" userId="S::uic27710@contiwan.com::3217206a-18cc-4c3c-b43c-c8f6da7a23e7" providerId="AD" clId="Web-{DA311655-1C49-403F-8B50-C445413F8B0B}" dt="2022-02-24T07:46:09.342" v="7" actId="20577"/>
          <ac:spMkLst>
            <pc:docMk/>
            <pc:sldMk cId="2471702365" sldId="361"/>
            <ac:spMk id="28" creationId="{8F8E0EE7-2E74-4BFB-836F-51E784551647}"/>
          </ac:spMkLst>
        </pc:spChg>
      </pc:sldChg>
    </pc:docChg>
  </pc:docChgLst>
  <pc:docChgLst>
    <pc:chgData name="Book, Leon (uic27710)" userId="S::uic27710@contiwan.com::3217206a-18cc-4c3c-b43c-c8f6da7a23e7" providerId="AD" clId="Web-{DB984CDD-80A0-4563-8E94-9A901204DA07}"/>
    <pc:docChg chg="modSld">
      <pc:chgData name="Book, Leon (uic27710)" userId="S::uic27710@contiwan.com::3217206a-18cc-4c3c-b43c-c8f6da7a23e7" providerId="AD" clId="Web-{DB984CDD-80A0-4563-8E94-9A901204DA07}" dt="2022-02-21T10:07:40.965" v="12" actId="14100"/>
      <pc:docMkLst>
        <pc:docMk/>
      </pc:docMkLst>
      <pc:sldChg chg="addSp modSp">
        <pc:chgData name="Book, Leon (uic27710)" userId="S::uic27710@contiwan.com::3217206a-18cc-4c3c-b43c-c8f6da7a23e7" providerId="AD" clId="Web-{DB984CDD-80A0-4563-8E94-9A901204DA07}" dt="2022-02-21T10:07:40.965" v="12" actId="14100"/>
        <pc:sldMkLst>
          <pc:docMk/>
          <pc:sldMk cId="0" sldId="344"/>
        </pc:sldMkLst>
        <pc:picChg chg="add mod ord modCrop">
          <ac:chgData name="Book, Leon (uic27710)" userId="S::uic27710@contiwan.com::3217206a-18cc-4c3c-b43c-c8f6da7a23e7" providerId="AD" clId="Web-{DB984CDD-80A0-4563-8E94-9A901204DA07}" dt="2022-02-21T10:07:40.965" v="12" actId="14100"/>
          <ac:picMkLst>
            <pc:docMk/>
            <pc:sldMk cId="0" sldId="344"/>
            <ac:picMk id="7" creationId="{1AD9AEF2-3D00-4040-8498-3A420FAC770F}"/>
          </ac:picMkLst>
        </pc:picChg>
      </pc:sldChg>
    </pc:docChg>
  </pc:docChgLst>
  <pc:docChgLst>
    <pc:chgData name="Ratayczak, Lion (uic27707)" userId="S::uic27707@contiwan.com::ae943a63-3223-4834-bd06-5f39c1f17dca" providerId="AD" clId="Web-{52250D77-4712-4221-8B62-FD199780E6A8}"/>
    <pc:docChg chg="modSld">
      <pc:chgData name="Ratayczak, Lion (uic27707)" userId="S::uic27707@contiwan.com::ae943a63-3223-4834-bd06-5f39c1f17dca" providerId="AD" clId="Web-{52250D77-4712-4221-8B62-FD199780E6A8}" dt="2022-02-23T11:34:46.639" v="52"/>
      <pc:docMkLst>
        <pc:docMk/>
      </pc:docMkLst>
      <pc:sldChg chg="modSp">
        <pc:chgData name="Ratayczak, Lion (uic27707)" userId="S::uic27707@contiwan.com::ae943a63-3223-4834-bd06-5f39c1f17dca" providerId="AD" clId="Web-{52250D77-4712-4221-8B62-FD199780E6A8}" dt="2022-02-23T11:32:58.119" v="46" actId="20577"/>
        <pc:sldMkLst>
          <pc:docMk/>
          <pc:sldMk cId="0" sldId="345"/>
        </pc:sldMkLst>
        <pc:spChg chg="mod">
          <ac:chgData name="Ratayczak, Lion (uic27707)" userId="S::uic27707@contiwan.com::ae943a63-3223-4834-bd06-5f39c1f17dca" providerId="AD" clId="Web-{52250D77-4712-4221-8B62-FD199780E6A8}" dt="2022-02-23T11:32:58.119" v="46" actId="20577"/>
          <ac:spMkLst>
            <pc:docMk/>
            <pc:sldMk cId="0" sldId="345"/>
            <ac:spMk id="2" creationId="{00000000-0000-0000-0000-000000000000}"/>
          </ac:spMkLst>
        </pc:spChg>
      </pc:sldChg>
      <pc:sldChg chg="addSp delSp">
        <pc:chgData name="Ratayczak, Lion (uic27707)" userId="S::uic27707@contiwan.com::ae943a63-3223-4834-bd06-5f39c1f17dca" providerId="AD" clId="Web-{52250D77-4712-4221-8B62-FD199780E6A8}" dt="2022-02-23T11:34:46.639" v="52"/>
        <pc:sldMkLst>
          <pc:docMk/>
          <pc:sldMk cId="2471702365" sldId="361"/>
        </pc:sldMkLst>
        <pc:spChg chg="add del">
          <ac:chgData name="Ratayczak, Lion (uic27707)" userId="S::uic27707@contiwan.com::ae943a63-3223-4834-bd06-5f39c1f17dca" providerId="AD" clId="Web-{52250D77-4712-4221-8B62-FD199780E6A8}" dt="2022-02-23T11:34:46.639" v="52"/>
          <ac:spMkLst>
            <pc:docMk/>
            <pc:sldMk cId="2471702365" sldId="361"/>
            <ac:spMk id="2" creationId="{A665CE07-400B-4181-AEBF-30D4BD2DC737}"/>
          </ac:spMkLst>
        </pc:spChg>
        <pc:spChg chg="add del">
          <ac:chgData name="Ratayczak, Lion (uic27707)" userId="S::uic27707@contiwan.com::ae943a63-3223-4834-bd06-5f39c1f17dca" providerId="AD" clId="Web-{52250D77-4712-4221-8B62-FD199780E6A8}" dt="2022-02-23T11:34:44.153" v="51"/>
          <ac:spMkLst>
            <pc:docMk/>
            <pc:sldMk cId="2471702365" sldId="361"/>
            <ac:spMk id="7" creationId="{50E49AAB-9FD7-4302-8E1C-E2975741D03A}"/>
          </ac:spMkLst>
        </pc:spChg>
        <pc:spChg chg="add del">
          <ac:chgData name="Ratayczak, Lion (uic27707)" userId="S::uic27707@contiwan.com::ae943a63-3223-4834-bd06-5f39c1f17dca" providerId="AD" clId="Web-{52250D77-4712-4221-8B62-FD199780E6A8}" dt="2022-02-23T11:34:41.543" v="50"/>
          <ac:spMkLst>
            <pc:docMk/>
            <pc:sldMk cId="2471702365" sldId="361"/>
            <ac:spMk id="8" creationId="{CB191AC8-4489-498A-BCFC-A12BA2E9F80C}"/>
          </ac:spMkLst>
        </pc:spChg>
      </pc:sldChg>
    </pc:docChg>
  </pc:docChgLst>
  <pc:docChgLst>
    <pc:chgData name="Ratayczak, Lion (uic27707)" userId="S::uic27707@contiwan.com::ae943a63-3223-4834-bd06-5f39c1f17dca" providerId="AD" clId="Web-{C8DD21BB-C274-4542-A148-137A41C0971D}"/>
    <pc:docChg chg="modSld">
      <pc:chgData name="Ratayczak, Lion (uic27707)" userId="S::uic27707@contiwan.com::ae943a63-3223-4834-bd06-5f39c1f17dca" providerId="AD" clId="Web-{C8DD21BB-C274-4542-A148-137A41C0971D}" dt="2022-02-24T07:50:28.364" v="78" actId="20577"/>
      <pc:docMkLst>
        <pc:docMk/>
      </pc:docMkLst>
      <pc:sldChg chg="modSp">
        <pc:chgData name="Ratayczak, Lion (uic27707)" userId="S::uic27707@contiwan.com::ae943a63-3223-4834-bd06-5f39c1f17dca" providerId="AD" clId="Web-{C8DD21BB-C274-4542-A148-137A41C0971D}" dt="2022-02-24T07:50:28.364" v="78" actId="20577"/>
        <pc:sldMkLst>
          <pc:docMk/>
          <pc:sldMk cId="0" sldId="345"/>
        </pc:sldMkLst>
        <pc:spChg chg="mod">
          <ac:chgData name="Ratayczak, Lion (uic27707)" userId="S::uic27707@contiwan.com::ae943a63-3223-4834-bd06-5f39c1f17dca" providerId="AD" clId="Web-{C8DD21BB-C274-4542-A148-137A41C0971D}" dt="2022-02-24T07:50:28.364" v="78" actId="20577"/>
          <ac:spMkLst>
            <pc:docMk/>
            <pc:sldMk cId="0" sldId="345"/>
            <ac:spMk id="2" creationId="{00000000-0000-0000-0000-000000000000}"/>
          </ac:spMkLst>
        </pc:spChg>
      </pc:sldChg>
    </pc:docChg>
  </pc:docChgLst>
  <pc:docChgLst>
    <pc:chgData name="Ratayczak, Lion (uic27707)" userId="S::uic27707@contiwan.com::ae943a63-3223-4834-bd06-5f39c1f17dca" providerId="AD" clId="Web-{9975A4F8-8BF4-47D0-8D0B-75311DE2BEAB}"/>
    <pc:docChg chg="modSld">
      <pc:chgData name="Ratayczak, Lion (uic27707)" userId="S::uic27707@contiwan.com::ae943a63-3223-4834-bd06-5f39c1f17dca" providerId="AD" clId="Web-{9975A4F8-8BF4-47D0-8D0B-75311DE2BEAB}" dt="2022-02-22T07:16:35.365" v="156" actId="20577"/>
      <pc:docMkLst>
        <pc:docMk/>
      </pc:docMkLst>
      <pc:sldChg chg="modSp">
        <pc:chgData name="Ratayczak, Lion (uic27707)" userId="S::uic27707@contiwan.com::ae943a63-3223-4834-bd06-5f39c1f17dca" providerId="AD" clId="Web-{9975A4F8-8BF4-47D0-8D0B-75311DE2BEAB}" dt="2022-02-22T06:58:32.729" v="5" actId="20577"/>
        <pc:sldMkLst>
          <pc:docMk/>
          <pc:sldMk cId="0" sldId="344"/>
        </pc:sldMkLst>
        <pc:spChg chg="mod">
          <ac:chgData name="Ratayczak, Lion (uic27707)" userId="S::uic27707@contiwan.com::ae943a63-3223-4834-bd06-5f39c1f17dca" providerId="AD" clId="Web-{9975A4F8-8BF4-47D0-8D0B-75311DE2BEAB}" dt="2022-02-22T06:58:32.729" v="5" actId="20577"/>
          <ac:spMkLst>
            <pc:docMk/>
            <pc:sldMk cId="0" sldId="344"/>
            <ac:spMk id="3" creationId="{00000000-0000-0000-0000-000000000000}"/>
          </ac:spMkLst>
        </pc:spChg>
      </pc:sldChg>
      <pc:sldChg chg="modSp">
        <pc:chgData name="Ratayczak, Lion (uic27707)" userId="S::uic27707@contiwan.com::ae943a63-3223-4834-bd06-5f39c1f17dca" providerId="AD" clId="Web-{9975A4F8-8BF4-47D0-8D0B-75311DE2BEAB}" dt="2022-02-22T07:01:28.515" v="7" actId="20577"/>
        <pc:sldMkLst>
          <pc:docMk/>
          <pc:sldMk cId="437841381" sldId="354"/>
        </pc:sldMkLst>
        <pc:spChg chg="mod">
          <ac:chgData name="Ratayczak, Lion (uic27707)" userId="S::uic27707@contiwan.com::ae943a63-3223-4834-bd06-5f39c1f17dca" providerId="AD" clId="Web-{9975A4F8-8BF4-47D0-8D0B-75311DE2BEAB}" dt="2022-02-22T07:01:28.515" v="7" actId="20577"/>
          <ac:spMkLst>
            <pc:docMk/>
            <pc:sldMk cId="437841381" sldId="354"/>
            <ac:spMk id="2" creationId="{4BB86BEE-CDB1-45E4-B26B-9FC27652F6B8}"/>
          </ac:spMkLst>
        </pc:spChg>
      </pc:sldChg>
      <pc:sldChg chg="modSp">
        <pc:chgData name="Ratayczak, Lion (uic27707)" userId="S::uic27707@contiwan.com::ae943a63-3223-4834-bd06-5f39c1f17dca" providerId="AD" clId="Web-{9975A4F8-8BF4-47D0-8D0B-75311DE2BEAB}" dt="2022-02-22T07:16:35.365" v="156" actId="20577"/>
        <pc:sldMkLst>
          <pc:docMk/>
          <pc:sldMk cId="2119684422" sldId="355"/>
        </pc:sldMkLst>
        <pc:spChg chg="mod">
          <ac:chgData name="Ratayczak, Lion (uic27707)" userId="S::uic27707@contiwan.com::ae943a63-3223-4834-bd06-5f39c1f17dca" providerId="AD" clId="Web-{9975A4F8-8BF4-47D0-8D0B-75311DE2BEAB}" dt="2022-02-22T07:16:35.365" v="156" actId="20577"/>
          <ac:spMkLst>
            <pc:docMk/>
            <pc:sldMk cId="2119684422" sldId="355"/>
            <ac:spMk id="2" creationId="{EB09A3DC-59E1-4570-ADA7-2B94F4E2C5D8}"/>
          </ac:spMkLst>
        </pc:spChg>
      </pc:sldChg>
    </pc:docChg>
  </pc:docChgLst>
  <pc:docChgLst>
    <pc:chgData name="Ratayczak, Lion (uic27707)" userId="S::uic27707@contiwan.com::ae943a63-3223-4834-bd06-5f39c1f17dca" providerId="AD" clId="Web-{89A45D4F-E9F4-4FC9-919B-9A58CB670183}"/>
    <pc:docChg chg="addSld modSld">
      <pc:chgData name="Ratayczak, Lion (uic27707)" userId="S::uic27707@contiwan.com::ae943a63-3223-4834-bd06-5f39c1f17dca" providerId="AD" clId="Web-{89A45D4F-E9F4-4FC9-919B-9A58CB670183}" dt="2022-02-21T14:22:20.074" v="466" actId="20577"/>
      <pc:docMkLst>
        <pc:docMk/>
      </pc:docMkLst>
      <pc:sldChg chg="modSp new">
        <pc:chgData name="Ratayczak, Lion (uic27707)" userId="S::uic27707@contiwan.com::ae943a63-3223-4834-bd06-5f39c1f17dca" providerId="AD" clId="Web-{89A45D4F-E9F4-4FC9-919B-9A58CB670183}" dt="2022-02-21T14:20:26.254" v="374" actId="20577"/>
        <pc:sldMkLst>
          <pc:docMk/>
          <pc:sldMk cId="437841381" sldId="354"/>
        </pc:sldMkLst>
        <pc:spChg chg="mod">
          <ac:chgData name="Ratayczak, Lion (uic27707)" userId="S::uic27707@contiwan.com::ae943a63-3223-4834-bd06-5f39c1f17dca" providerId="AD" clId="Web-{89A45D4F-E9F4-4FC9-919B-9A58CB670183}" dt="2022-02-21T14:20:26.254" v="374" actId="20577"/>
          <ac:spMkLst>
            <pc:docMk/>
            <pc:sldMk cId="437841381" sldId="354"/>
            <ac:spMk id="2" creationId="{4BB86BEE-CDB1-45E4-B26B-9FC27652F6B8}"/>
          </ac:spMkLst>
        </pc:spChg>
        <pc:spChg chg="mod">
          <ac:chgData name="Ratayczak, Lion (uic27707)" userId="S::uic27707@contiwan.com::ae943a63-3223-4834-bd06-5f39c1f17dca" providerId="AD" clId="Web-{89A45D4F-E9F4-4FC9-919B-9A58CB670183}" dt="2022-02-21T13:50:25.549" v="36" actId="20577"/>
          <ac:spMkLst>
            <pc:docMk/>
            <pc:sldMk cId="437841381" sldId="354"/>
            <ac:spMk id="3" creationId="{676A0EBB-9B3E-4EDF-BD34-CAB9B435EE6F}"/>
          </ac:spMkLst>
        </pc:spChg>
      </pc:sldChg>
      <pc:sldChg chg="modSp new">
        <pc:chgData name="Ratayczak, Lion (uic27707)" userId="S::uic27707@contiwan.com::ae943a63-3223-4834-bd06-5f39c1f17dca" providerId="AD" clId="Web-{89A45D4F-E9F4-4FC9-919B-9A58CB670183}" dt="2022-02-21T14:22:20.074" v="466" actId="20577"/>
        <pc:sldMkLst>
          <pc:docMk/>
          <pc:sldMk cId="2119684422" sldId="355"/>
        </pc:sldMkLst>
        <pc:spChg chg="mod">
          <ac:chgData name="Ratayczak, Lion (uic27707)" userId="S::uic27707@contiwan.com::ae943a63-3223-4834-bd06-5f39c1f17dca" providerId="AD" clId="Web-{89A45D4F-E9F4-4FC9-919B-9A58CB670183}" dt="2022-02-21T14:22:20.074" v="466" actId="20577"/>
          <ac:spMkLst>
            <pc:docMk/>
            <pc:sldMk cId="2119684422" sldId="355"/>
            <ac:spMk id="2" creationId="{EB09A3DC-59E1-4570-ADA7-2B94F4E2C5D8}"/>
          </ac:spMkLst>
        </pc:spChg>
        <pc:spChg chg="mod">
          <ac:chgData name="Ratayczak, Lion (uic27707)" userId="S::uic27707@contiwan.com::ae943a63-3223-4834-bd06-5f39c1f17dca" providerId="AD" clId="Web-{89A45D4F-E9F4-4FC9-919B-9A58CB670183}" dt="2022-02-21T14:20:52.021" v="385" actId="20577"/>
          <ac:spMkLst>
            <pc:docMk/>
            <pc:sldMk cId="2119684422" sldId="355"/>
            <ac:spMk id="3" creationId="{54CB27D9-9C08-486E-8354-572359EA63AB}"/>
          </ac:spMkLst>
        </pc:spChg>
      </pc:sldChg>
    </pc:docChg>
  </pc:docChgLst>
  <pc:docChgLst>
    <pc:chgData name="Book, Leon (uic27710)" userId="3217206a-18cc-4c3c-b43c-c8f6da7a23e7" providerId="ADAL" clId="{931167F8-2036-4A7B-9F3E-DA79BA48A8DF}"/>
    <pc:docChg chg="undo redo custSel addSld delSld modSld sldOrd">
      <pc:chgData name="Book, Leon (uic27710)" userId="3217206a-18cc-4c3c-b43c-c8f6da7a23e7" providerId="ADAL" clId="{931167F8-2036-4A7B-9F3E-DA79BA48A8DF}" dt="2022-02-22T12:11:30.568" v="2945" actId="1076"/>
      <pc:docMkLst>
        <pc:docMk/>
      </pc:docMkLst>
      <pc:sldChg chg="addSp delSp modSp mod">
        <pc:chgData name="Book, Leon (uic27710)" userId="3217206a-18cc-4c3c-b43c-c8f6da7a23e7" providerId="ADAL" clId="{931167F8-2036-4A7B-9F3E-DA79BA48A8DF}" dt="2022-02-22T12:01:34.431" v="2867" actId="20577"/>
        <pc:sldMkLst>
          <pc:docMk/>
          <pc:sldMk cId="833592293" sldId="346"/>
        </pc:sldMkLst>
        <pc:spChg chg="del">
          <ac:chgData name="Book, Leon (uic27710)" userId="3217206a-18cc-4c3c-b43c-c8f6da7a23e7" providerId="ADAL" clId="{931167F8-2036-4A7B-9F3E-DA79BA48A8DF}" dt="2022-02-21T10:16:18.072" v="16"/>
          <ac:spMkLst>
            <pc:docMk/>
            <pc:sldMk cId="833592293" sldId="346"/>
            <ac:spMk id="2" creationId="{92624902-B572-49AE-9E5C-1679431EEA0D}"/>
          </ac:spMkLst>
        </pc:spChg>
        <pc:spChg chg="mod">
          <ac:chgData name="Book, Leon (uic27710)" userId="3217206a-18cc-4c3c-b43c-c8f6da7a23e7" providerId="ADAL" clId="{931167F8-2036-4A7B-9F3E-DA79BA48A8DF}" dt="2022-02-21T10:08:50.601" v="15" actId="20577"/>
          <ac:spMkLst>
            <pc:docMk/>
            <pc:sldMk cId="833592293" sldId="346"/>
            <ac:spMk id="3" creationId="{B6B35B8C-87E5-45F0-97D2-50D9ECA355AA}"/>
          </ac:spMkLst>
        </pc:spChg>
        <pc:spChg chg="add del mod">
          <ac:chgData name="Book, Leon (uic27710)" userId="3217206a-18cc-4c3c-b43c-c8f6da7a23e7" providerId="ADAL" clId="{931167F8-2036-4A7B-9F3E-DA79BA48A8DF}" dt="2022-02-21T10:17:23.302" v="21"/>
          <ac:spMkLst>
            <pc:docMk/>
            <pc:sldMk cId="833592293" sldId="346"/>
            <ac:spMk id="9" creationId="{BCC664BD-2C2D-41B4-B415-3ACD66481AA1}"/>
          </ac:spMkLst>
        </pc:spChg>
        <pc:spChg chg="add mod">
          <ac:chgData name="Book, Leon (uic27710)" userId="3217206a-18cc-4c3c-b43c-c8f6da7a23e7" providerId="ADAL" clId="{931167F8-2036-4A7B-9F3E-DA79BA48A8DF}" dt="2022-02-22T12:01:34.431" v="2867" actId="20577"/>
          <ac:spMkLst>
            <pc:docMk/>
            <pc:sldMk cId="833592293" sldId="346"/>
            <ac:spMk id="10" creationId="{E9A2E512-0C9C-4AA6-909C-2C37CD1305B8}"/>
          </ac:spMkLst>
        </pc:spChg>
        <pc:picChg chg="add mod">
          <ac:chgData name="Book, Leon (uic27710)" userId="3217206a-18cc-4c3c-b43c-c8f6da7a23e7" providerId="ADAL" clId="{931167F8-2036-4A7B-9F3E-DA79BA48A8DF}" dt="2022-02-21T10:16:32.596" v="18" actId="1076"/>
          <ac:picMkLst>
            <pc:docMk/>
            <pc:sldMk cId="833592293" sldId="346"/>
            <ac:picMk id="8" creationId="{73CFA55E-C20D-4E7E-ACD4-C47CAA0D8CF3}"/>
          </ac:picMkLst>
        </pc:picChg>
      </pc:sldChg>
      <pc:sldChg chg="addSp delSp modSp add mod">
        <pc:chgData name="Book, Leon (uic27710)" userId="3217206a-18cc-4c3c-b43c-c8f6da7a23e7" providerId="ADAL" clId="{931167F8-2036-4A7B-9F3E-DA79BA48A8DF}" dt="2022-02-22T08:08:11.501" v="1892" actId="208"/>
        <pc:sldMkLst>
          <pc:docMk/>
          <pc:sldMk cId="2999593228" sldId="347"/>
        </pc:sldMkLst>
        <pc:spChg chg="mod">
          <ac:chgData name="Book, Leon (uic27710)" userId="3217206a-18cc-4c3c-b43c-c8f6da7a23e7" providerId="ADAL" clId="{931167F8-2036-4A7B-9F3E-DA79BA48A8DF}" dt="2022-02-21T10:23:04.216" v="389" actId="20577"/>
          <ac:spMkLst>
            <pc:docMk/>
            <pc:sldMk cId="2999593228" sldId="347"/>
            <ac:spMk id="3" creationId="{B6B35B8C-87E5-45F0-97D2-50D9ECA355AA}"/>
          </ac:spMkLst>
        </pc:spChg>
        <pc:spChg chg="mod">
          <ac:chgData name="Book, Leon (uic27710)" userId="3217206a-18cc-4c3c-b43c-c8f6da7a23e7" providerId="ADAL" clId="{931167F8-2036-4A7B-9F3E-DA79BA48A8DF}" dt="2022-02-21T10:23:08.233" v="390" actId="20577"/>
          <ac:spMkLst>
            <pc:docMk/>
            <pc:sldMk cId="2999593228" sldId="347"/>
            <ac:spMk id="10" creationId="{E9A2E512-0C9C-4AA6-909C-2C37CD1305B8}"/>
          </ac:spMkLst>
        </pc:spChg>
        <pc:spChg chg="add mod">
          <ac:chgData name="Book, Leon (uic27710)" userId="3217206a-18cc-4c3c-b43c-c8f6da7a23e7" providerId="ADAL" clId="{931167F8-2036-4A7B-9F3E-DA79BA48A8DF}" dt="2022-02-21T11:52:35.092" v="1050" actId="20577"/>
          <ac:spMkLst>
            <pc:docMk/>
            <pc:sldMk cId="2999593228" sldId="347"/>
            <ac:spMk id="22" creationId="{0B74488B-F954-4532-B794-8BF5C9C2F0BD}"/>
          </ac:spMkLst>
        </pc:spChg>
        <pc:spChg chg="add mod">
          <ac:chgData name="Book, Leon (uic27710)" userId="3217206a-18cc-4c3c-b43c-c8f6da7a23e7" providerId="ADAL" clId="{931167F8-2036-4A7B-9F3E-DA79BA48A8DF}" dt="2022-02-21T11:52:38.849" v="1052" actId="20577"/>
          <ac:spMkLst>
            <pc:docMk/>
            <pc:sldMk cId="2999593228" sldId="347"/>
            <ac:spMk id="23" creationId="{7955611E-37E5-450F-AFFD-4271CA44AC16}"/>
          </ac:spMkLst>
        </pc:spChg>
        <pc:spChg chg="add mod">
          <ac:chgData name="Book, Leon (uic27710)" userId="3217206a-18cc-4c3c-b43c-c8f6da7a23e7" providerId="ADAL" clId="{931167F8-2036-4A7B-9F3E-DA79BA48A8DF}" dt="2022-02-21T11:52:41.482" v="1054" actId="20577"/>
          <ac:spMkLst>
            <pc:docMk/>
            <pc:sldMk cId="2999593228" sldId="347"/>
            <ac:spMk id="24" creationId="{E6830C0E-7B64-4687-B6B9-B2648DD5D76F}"/>
          </ac:spMkLst>
        </pc:spChg>
        <pc:spChg chg="add mod">
          <ac:chgData name="Book, Leon (uic27710)" userId="3217206a-18cc-4c3c-b43c-c8f6da7a23e7" providerId="ADAL" clId="{931167F8-2036-4A7B-9F3E-DA79BA48A8DF}" dt="2022-02-21T11:52:44.978" v="1056" actId="20577"/>
          <ac:spMkLst>
            <pc:docMk/>
            <pc:sldMk cId="2999593228" sldId="347"/>
            <ac:spMk id="25" creationId="{4B9ADF8D-ECB9-46D3-B852-46144C5A7363}"/>
          </ac:spMkLst>
        </pc:spChg>
        <pc:spChg chg="add mod">
          <ac:chgData name="Book, Leon (uic27710)" userId="3217206a-18cc-4c3c-b43c-c8f6da7a23e7" providerId="ADAL" clId="{931167F8-2036-4A7B-9F3E-DA79BA48A8DF}" dt="2022-02-22T07:57:31.900" v="1379" actId="14100"/>
          <ac:spMkLst>
            <pc:docMk/>
            <pc:sldMk cId="2999593228" sldId="347"/>
            <ac:spMk id="26" creationId="{35F37E21-6D4F-4FF4-89C1-BCC4722E73E1}"/>
          </ac:spMkLst>
        </pc:spChg>
        <pc:spChg chg="add mod">
          <ac:chgData name="Book, Leon (uic27710)" userId="3217206a-18cc-4c3c-b43c-c8f6da7a23e7" providerId="ADAL" clId="{931167F8-2036-4A7B-9F3E-DA79BA48A8DF}" dt="2022-02-22T08:08:11.501" v="1892" actId="208"/>
          <ac:spMkLst>
            <pc:docMk/>
            <pc:sldMk cId="2999593228" sldId="347"/>
            <ac:spMk id="27" creationId="{1F01B89C-BBEF-4FEE-91DE-CAC2A2D5F610}"/>
          </ac:spMkLst>
        </pc:spChg>
        <pc:picChg chg="add mod">
          <ac:chgData name="Book, Leon (uic27710)" userId="3217206a-18cc-4c3c-b43c-c8f6da7a23e7" providerId="ADAL" clId="{931167F8-2036-4A7B-9F3E-DA79BA48A8DF}" dt="2022-02-21T10:26:53.803" v="420" actId="1076"/>
          <ac:picMkLst>
            <pc:docMk/>
            <pc:sldMk cId="2999593228" sldId="347"/>
            <ac:picMk id="7" creationId="{507BC257-9BDF-4D1E-BA0B-B1A92A787C4F}"/>
          </ac:picMkLst>
        </pc:picChg>
        <pc:picChg chg="mod">
          <ac:chgData name="Book, Leon (uic27710)" userId="3217206a-18cc-4c3c-b43c-c8f6da7a23e7" providerId="ADAL" clId="{931167F8-2036-4A7B-9F3E-DA79BA48A8DF}" dt="2022-02-21T10:34:11.309" v="702" actId="1076"/>
          <ac:picMkLst>
            <pc:docMk/>
            <pc:sldMk cId="2999593228" sldId="347"/>
            <ac:picMk id="8" creationId="{73CFA55E-C20D-4E7E-ACD4-C47CAA0D8CF3}"/>
          </ac:picMkLst>
        </pc:picChg>
        <pc:picChg chg="add mod">
          <ac:chgData name="Book, Leon (uic27710)" userId="3217206a-18cc-4c3c-b43c-c8f6da7a23e7" providerId="ADAL" clId="{931167F8-2036-4A7B-9F3E-DA79BA48A8DF}" dt="2022-02-21T10:26:53.803" v="420" actId="1076"/>
          <ac:picMkLst>
            <pc:docMk/>
            <pc:sldMk cId="2999593228" sldId="347"/>
            <ac:picMk id="11" creationId="{67942CD6-54F7-487E-889C-5FB4603134F1}"/>
          </ac:picMkLst>
        </pc:picChg>
        <pc:picChg chg="add mod">
          <ac:chgData name="Book, Leon (uic27710)" userId="3217206a-18cc-4c3c-b43c-c8f6da7a23e7" providerId="ADAL" clId="{931167F8-2036-4A7B-9F3E-DA79BA48A8DF}" dt="2022-02-21T10:26:53.803" v="420" actId="1076"/>
          <ac:picMkLst>
            <pc:docMk/>
            <pc:sldMk cId="2999593228" sldId="347"/>
            <ac:picMk id="13" creationId="{13E5EB52-7C4C-4E7F-ABCC-E91A041063C6}"/>
          </ac:picMkLst>
        </pc:picChg>
        <pc:picChg chg="add del mod">
          <ac:chgData name="Book, Leon (uic27710)" userId="3217206a-18cc-4c3c-b43c-c8f6da7a23e7" providerId="ADAL" clId="{931167F8-2036-4A7B-9F3E-DA79BA48A8DF}" dt="2022-02-21T10:26:01.179" v="406" actId="478"/>
          <ac:picMkLst>
            <pc:docMk/>
            <pc:sldMk cId="2999593228" sldId="347"/>
            <ac:picMk id="15" creationId="{9EEA6DB8-BAC9-46C3-A73F-4A2EE470AA8B}"/>
          </ac:picMkLst>
        </pc:picChg>
        <pc:picChg chg="add mod">
          <ac:chgData name="Book, Leon (uic27710)" userId="3217206a-18cc-4c3c-b43c-c8f6da7a23e7" providerId="ADAL" clId="{931167F8-2036-4A7B-9F3E-DA79BA48A8DF}" dt="2022-02-21T10:27:03.301" v="423" actId="1076"/>
          <ac:picMkLst>
            <pc:docMk/>
            <pc:sldMk cId="2999593228" sldId="347"/>
            <ac:picMk id="17" creationId="{7E58555E-39E9-4FDC-89FB-AE8FE6D6AAF4}"/>
          </ac:picMkLst>
        </pc:picChg>
        <pc:picChg chg="add mod">
          <ac:chgData name="Book, Leon (uic27710)" userId="3217206a-18cc-4c3c-b43c-c8f6da7a23e7" providerId="ADAL" clId="{931167F8-2036-4A7B-9F3E-DA79BA48A8DF}" dt="2022-02-21T10:27:35.312" v="430" actId="1076"/>
          <ac:picMkLst>
            <pc:docMk/>
            <pc:sldMk cId="2999593228" sldId="347"/>
            <ac:picMk id="19" creationId="{C0222335-D659-4B6B-9A33-573F65E342DB}"/>
          </ac:picMkLst>
        </pc:picChg>
        <pc:picChg chg="add del mod modCrop">
          <ac:chgData name="Book, Leon (uic27710)" userId="3217206a-18cc-4c3c-b43c-c8f6da7a23e7" providerId="ADAL" clId="{931167F8-2036-4A7B-9F3E-DA79BA48A8DF}" dt="2022-02-22T07:56:01.929" v="1366" actId="478"/>
          <ac:picMkLst>
            <pc:docMk/>
            <pc:sldMk cId="2999593228" sldId="347"/>
            <ac:picMk id="21" creationId="{8BA5D2ED-B787-4246-A4C6-F3B322DFF1B7}"/>
          </ac:picMkLst>
        </pc:picChg>
      </pc:sldChg>
      <pc:sldChg chg="addSp delSp modSp add mod">
        <pc:chgData name="Book, Leon (uic27710)" userId="3217206a-18cc-4c3c-b43c-c8f6da7a23e7" providerId="ADAL" clId="{931167F8-2036-4A7B-9F3E-DA79BA48A8DF}" dt="2022-02-22T08:08:06.224" v="1891" actId="208"/>
        <pc:sldMkLst>
          <pc:docMk/>
          <pc:sldMk cId="957179032" sldId="348"/>
        </pc:sldMkLst>
        <pc:spChg chg="mod">
          <ac:chgData name="Book, Leon (uic27710)" userId="3217206a-18cc-4c3c-b43c-c8f6da7a23e7" providerId="ADAL" clId="{931167F8-2036-4A7B-9F3E-DA79BA48A8DF}" dt="2022-02-21T10:39:26.966" v="864" actId="20577"/>
          <ac:spMkLst>
            <pc:docMk/>
            <pc:sldMk cId="957179032" sldId="348"/>
            <ac:spMk id="3" creationId="{B6B35B8C-87E5-45F0-97D2-50D9ECA355AA}"/>
          </ac:spMkLst>
        </pc:spChg>
        <pc:spChg chg="del">
          <ac:chgData name="Book, Leon (uic27710)" userId="3217206a-18cc-4c3c-b43c-c8f6da7a23e7" providerId="ADAL" clId="{931167F8-2036-4A7B-9F3E-DA79BA48A8DF}" dt="2022-02-21T10:35:41.538" v="718" actId="478"/>
          <ac:spMkLst>
            <pc:docMk/>
            <pc:sldMk cId="957179032" sldId="348"/>
            <ac:spMk id="22" creationId="{0B74488B-F954-4532-B794-8BF5C9C2F0BD}"/>
          </ac:spMkLst>
        </pc:spChg>
        <pc:spChg chg="del">
          <ac:chgData name="Book, Leon (uic27710)" userId="3217206a-18cc-4c3c-b43c-c8f6da7a23e7" providerId="ADAL" clId="{931167F8-2036-4A7B-9F3E-DA79BA48A8DF}" dt="2022-02-21T10:35:41.538" v="718" actId="478"/>
          <ac:spMkLst>
            <pc:docMk/>
            <pc:sldMk cId="957179032" sldId="348"/>
            <ac:spMk id="23" creationId="{7955611E-37E5-450F-AFFD-4271CA44AC16}"/>
          </ac:spMkLst>
        </pc:spChg>
        <pc:spChg chg="del mod">
          <ac:chgData name="Book, Leon (uic27710)" userId="3217206a-18cc-4c3c-b43c-c8f6da7a23e7" providerId="ADAL" clId="{931167F8-2036-4A7B-9F3E-DA79BA48A8DF}" dt="2022-02-21T10:35:46.141" v="720" actId="478"/>
          <ac:spMkLst>
            <pc:docMk/>
            <pc:sldMk cId="957179032" sldId="348"/>
            <ac:spMk id="24" creationId="{E6830C0E-7B64-4687-B6B9-B2648DD5D76F}"/>
          </ac:spMkLst>
        </pc:spChg>
        <pc:spChg chg="del">
          <ac:chgData name="Book, Leon (uic27710)" userId="3217206a-18cc-4c3c-b43c-c8f6da7a23e7" providerId="ADAL" clId="{931167F8-2036-4A7B-9F3E-DA79BA48A8DF}" dt="2022-02-21T10:35:41.538" v="718" actId="478"/>
          <ac:spMkLst>
            <pc:docMk/>
            <pc:sldMk cId="957179032" sldId="348"/>
            <ac:spMk id="25" creationId="{4B9ADF8D-ECB9-46D3-B852-46144C5A7363}"/>
          </ac:spMkLst>
        </pc:spChg>
        <pc:spChg chg="del">
          <ac:chgData name="Book, Leon (uic27710)" userId="3217206a-18cc-4c3c-b43c-c8f6da7a23e7" providerId="ADAL" clId="{931167F8-2036-4A7B-9F3E-DA79BA48A8DF}" dt="2022-02-21T10:35:41.538" v="718" actId="478"/>
          <ac:spMkLst>
            <pc:docMk/>
            <pc:sldMk cId="957179032" sldId="348"/>
            <ac:spMk id="26" creationId="{35F37E21-6D4F-4FF4-89C1-BCC4722E73E1}"/>
          </ac:spMkLst>
        </pc:spChg>
        <pc:spChg chg="mod">
          <ac:chgData name="Book, Leon (uic27710)" userId="3217206a-18cc-4c3c-b43c-c8f6da7a23e7" providerId="ADAL" clId="{931167F8-2036-4A7B-9F3E-DA79BA48A8DF}" dt="2022-02-22T08:08:06.224" v="1891" actId="208"/>
          <ac:spMkLst>
            <pc:docMk/>
            <pc:sldMk cId="957179032" sldId="348"/>
            <ac:spMk id="27" creationId="{1F01B89C-BBEF-4FEE-91DE-CAC2A2D5F610}"/>
          </ac:spMkLst>
        </pc:spChg>
        <pc:spChg chg="add mod">
          <ac:chgData name="Book, Leon (uic27710)" userId="3217206a-18cc-4c3c-b43c-c8f6da7a23e7" providerId="ADAL" clId="{931167F8-2036-4A7B-9F3E-DA79BA48A8DF}" dt="2022-02-22T07:57:15.589" v="1377" actId="20577"/>
          <ac:spMkLst>
            <pc:docMk/>
            <pc:sldMk cId="957179032" sldId="348"/>
            <ac:spMk id="28" creationId="{8F8E0EE7-2E74-4BFB-836F-51E784551647}"/>
          </ac:spMkLst>
        </pc:spChg>
        <pc:picChg chg="del">
          <ac:chgData name="Book, Leon (uic27710)" userId="3217206a-18cc-4c3c-b43c-c8f6da7a23e7" providerId="ADAL" clId="{931167F8-2036-4A7B-9F3E-DA79BA48A8DF}" dt="2022-02-21T10:35:41.538" v="718" actId="478"/>
          <ac:picMkLst>
            <pc:docMk/>
            <pc:sldMk cId="957179032" sldId="348"/>
            <ac:picMk id="7" creationId="{507BC257-9BDF-4D1E-BA0B-B1A92A787C4F}"/>
          </ac:picMkLst>
        </pc:picChg>
        <pc:picChg chg="mod">
          <ac:chgData name="Book, Leon (uic27710)" userId="3217206a-18cc-4c3c-b43c-c8f6da7a23e7" providerId="ADAL" clId="{931167F8-2036-4A7B-9F3E-DA79BA48A8DF}" dt="2022-02-21T10:35:23.647" v="715" actId="1076"/>
          <ac:picMkLst>
            <pc:docMk/>
            <pc:sldMk cId="957179032" sldId="348"/>
            <ac:picMk id="8" creationId="{73CFA55E-C20D-4E7E-ACD4-C47CAA0D8CF3}"/>
          </ac:picMkLst>
        </pc:picChg>
        <pc:picChg chg="add mod">
          <ac:chgData name="Book, Leon (uic27710)" userId="3217206a-18cc-4c3c-b43c-c8f6da7a23e7" providerId="ADAL" clId="{931167F8-2036-4A7B-9F3E-DA79BA48A8DF}" dt="2022-02-22T07:55:30.934" v="1362" actId="1076"/>
          <ac:picMkLst>
            <pc:docMk/>
            <pc:sldMk cId="957179032" sldId="348"/>
            <ac:picMk id="9" creationId="{3C68EC18-F193-4DF1-A9C5-A891E58072D5}"/>
          </ac:picMkLst>
        </pc:picChg>
        <pc:picChg chg="del">
          <ac:chgData name="Book, Leon (uic27710)" userId="3217206a-18cc-4c3c-b43c-c8f6da7a23e7" providerId="ADAL" clId="{931167F8-2036-4A7B-9F3E-DA79BA48A8DF}" dt="2022-02-21T10:35:41.538" v="718" actId="478"/>
          <ac:picMkLst>
            <pc:docMk/>
            <pc:sldMk cId="957179032" sldId="348"/>
            <ac:picMk id="11" creationId="{67942CD6-54F7-487E-889C-5FB4603134F1}"/>
          </ac:picMkLst>
        </pc:picChg>
        <pc:picChg chg="del">
          <ac:chgData name="Book, Leon (uic27710)" userId="3217206a-18cc-4c3c-b43c-c8f6da7a23e7" providerId="ADAL" clId="{931167F8-2036-4A7B-9F3E-DA79BA48A8DF}" dt="2022-02-21T10:35:41.538" v="718" actId="478"/>
          <ac:picMkLst>
            <pc:docMk/>
            <pc:sldMk cId="957179032" sldId="348"/>
            <ac:picMk id="13" creationId="{13E5EB52-7C4C-4E7F-ABCC-E91A041063C6}"/>
          </ac:picMkLst>
        </pc:picChg>
        <pc:picChg chg="del">
          <ac:chgData name="Book, Leon (uic27710)" userId="3217206a-18cc-4c3c-b43c-c8f6da7a23e7" providerId="ADAL" clId="{931167F8-2036-4A7B-9F3E-DA79BA48A8DF}" dt="2022-02-21T10:35:41.538" v="718" actId="478"/>
          <ac:picMkLst>
            <pc:docMk/>
            <pc:sldMk cId="957179032" sldId="348"/>
            <ac:picMk id="17" creationId="{7E58555E-39E9-4FDC-89FB-AE8FE6D6AAF4}"/>
          </ac:picMkLst>
        </pc:picChg>
        <pc:picChg chg="del">
          <ac:chgData name="Book, Leon (uic27710)" userId="3217206a-18cc-4c3c-b43c-c8f6da7a23e7" providerId="ADAL" clId="{931167F8-2036-4A7B-9F3E-DA79BA48A8DF}" dt="2022-02-21T10:35:41.538" v="718" actId="478"/>
          <ac:picMkLst>
            <pc:docMk/>
            <pc:sldMk cId="957179032" sldId="348"/>
            <ac:picMk id="19" creationId="{C0222335-D659-4B6B-9A33-573F65E342DB}"/>
          </ac:picMkLst>
        </pc:picChg>
        <pc:picChg chg="del">
          <ac:chgData name="Book, Leon (uic27710)" userId="3217206a-18cc-4c3c-b43c-c8f6da7a23e7" providerId="ADAL" clId="{931167F8-2036-4A7B-9F3E-DA79BA48A8DF}" dt="2022-02-21T10:35:34.837" v="717" actId="478"/>
          <ac:picMkLst>
            <pc:docMk/>
            <pc:sldMk cId="957179032" sldId="348"/>
            <ac:picMk id="21" creationId="{8BA5D2ED-B787-4246-A4C6-F3B322DFF1B7}"/>
          </ac:picMkLst>
        </pc:picChg>
        <pc:picChg chg="add del mod">
          <ac:chgData name="Book, Leon (uic27710)" userId="3217206a-18cc-4c3c-b43c-c8f6da7a23e7" providerId="ADAL" clId="{931167F8-2036-4A7B-9F3E-DA79BA48A8DF}" dt="2022-02-22T07:54:30.845" v="1266" actId="478"/>
          <ac:picMkLst>
            <pc:docMk/>
            <pc:sldMk cId="957179032" sldId="348"/>
            <ac:picMk id="29" creationId="{56A7CA76-FD50-482A-A945-D9292410A8D6}"/>
          </ac:picMkLst>
        </pc:picChg>
        <pc:cxnChg chg="add mod">
          <ac:chgData name="Book, Leon (uic27710)" userId="3217206a-18cc-4c3c-b43c-c8f6da7a23e7" providerId="ADAL" clId="{931167F8-2036-4A7B-9F3E-DA79BA48A8DF}" dt="2022-02-22T07:57:23.700" v="1378" actId="14100"/>
          <ac:cxnSpMkLst>
            <pc:docMk/>
            <pc:sldMk cId="957179032" sldId="348"/>
            <ac:cxnSpMk id="30" creationId="{548F228A-3810-49CA-AA5E-23085AFB7B87}"/>
          </ac:cxnSpMkLst>
        </pc:cxnChg>
      </pc:sldChg>
      <pc:sldChg chg="add del">
        <pc:chgData name="Book, Leon (uic27710)" userId="3217206a-18cc-4c3c-b43c-c8f6da7a23e7" providerId="ADAL" clId="{931167F8-2036-4A7B-9F3E-DA79BA48A8DF}" dt="2022-02-21T10:32:55.708" v="689" actId="2696"/>
        <pc:sldMkLst>
          <pc:docMk/>
          <pc:sldMk cId="2987646037" sldId="348"/>
        </pc:sldMkLst>
      </pc:sldChg>
      <pc:sldChg chg="addSp delSp modSp add mod">
        <pc:chgData name="Book, Leon (uic27710)" userId="3217206a-18cc-4c3c-b43c-c8f6da7a23e7" providerId="ADAL" clId="{931167F8-2036-4A7B-9F3E-DA79BA48A8DF}" dt="2022-02-22T08:23:04.153" v="2368" actId="20577"/>
        <pc:sldMkLst>
          <pc:docMk/>
          <pc:sldMk cId="3259714366" sldId="349"/>
        </pc:sldMkLst>
        <pc:spChg chg="mod">
          <ac:chgData name="Book, Leon (uic27710)" userId="3217206a-18cc-4c3c-b43c-c8f6da7a23e7" providerId="ADAL" clId="{931167F8-2036-4A7B-9F3E-DA79BA48A8DF}" dt="2022-02-21T10:39:39.427" v="894" actId="20577"/>
          <ac:spMkLst>
            <pc:docMk/>
            <pc:sldMk cId="3259714366" sldId="349"/>
            <ac:spMk id="3" creationId="{B6B35B8C-87E5-45F0-97D2-50D9ECA355AA}"/>
          </ac:spMkLst>
        </pc:spChg>
        <pc:spChg chg="add mod">
          <ac:chgData name="Book, Leon (uic27710)" userId="3217206a-18cc-4c3c-b43c-c8f6da7a23e7" providerId="ADAL" clId="{931167F8-2036-4A7B-9F3E-DA79BA48A8DF}" dt="2022-02-22T08:08:00.946" v="1890" actId="208"/>
          <ac:spMkLst>
            <pc:docMk/>
            <pc:sldMk cId="3259714366" sldId="349"/>
            <ac:spMk id="9" creationId="{2F9F0306-AF22-445D-8A0C-DBE2BABFE711}"/>
          </ac:spMkLst>
        </pc:spChg>
        <pc:spChg chg="add mod">
          <ac:chgData name="Book, Leon (uic27710)" userId="3217206a-18cc-4c3c-b43c-c8f6da7a23e7" providerId="ADAL" clId="{931167F8-2036-4A7B-9F3E-DA79BA48A8DF}" dt="2022-02-22T08:23:04.153" v="2368" actId="20577"/>
          <ac:spMkLst>
            <pc:docMk/>
            <pc:sldMk cId="3259714366" sldId="349"/>
            <ac:spMk id="11" creationId="{2F1082F5-3D60-4080-B0CA-2805281219FC}"/>
          </ac:spMkLst>
        </pc:spChg>
        <pc:spChg chg="add mod">
          <ac:chgData name="Book, Leon (uic27710)" userId="3217206a-18cc-4c3c-b43c-c8f6da7a23e7" providerId="ADAL" clId="{931167F8-2036-4A7B-9F3E-DA79BA48A8DF}" dt="2022-02-22T08:07:55.114" v="1889" actId="208"/>
          <ac:spMkLst>
            <pc:docMk/>
            <pc:sldMk cId="3259714366" sldId="349"/>
            <ac:spMk id="15" creationId="{B2DFC643-84C3-40C3-9E8C-666DE03D525B}"/>
          </ac:spMkLst>
        </pc:spChg>
        <pc:spChg chg="del mod">
          <ac:chgData name="Book, Leon (uic27710)" userId="3217206a-18cc-4c3c-b43c-c8f6da7a23e7" providerId="ADAL" clId="{931167F8-2036-4A7B-9F3E-DA79BA48A8DF}" dt="2022-02-21T10:36:16.590" v="726" actId="478"/>
          <ac:spMkLst>
            <pc:docMk/>
            <pc:sldMk cId="3259714366" sldId="349"/>
            <ac:spMk id="27" creationId="{1F01B89C-BBEF-4FEE-91DE-CAC2A2D5F610}"/>
          </ac:spMkLst>
        </pc:spChg>
        <pc:picChg chg="add mod">
          <ac:chgData name="Book, Leon (uic27710)" userId="3217206a-18cc-4c3c-b43c-c8f6da7a23e7" providerId="ADAL" clId="{931167F8-2036-4A7B-9F3E-DA79BA48A8DF}" dt="2022-02-22T08:07:05.732" v="1882" actId="14100"/>
          <ac:picMkLst>
            <pc:docMk/>
            <pc:sldMk cId="3259714366" sldId="349"/>
            <ac:picMk id="7" creationId="{4F21C6F9-BF25-428A-85F0-EE57D8CA73B0}"/>
          </ac:picMkLst>
        </pc:picChg>
        <pc:picChg chg="add mod">
          <ac:chgData name="Book, Leon (uic27710)" userId="3217206a-18cc-4c3c-b43c-c8f6da7a23e7" providerId="ADAL" clId="{931167F8-2036-4A7B-9F3E-DA79BA48A8DF}" dt="2022-02-22T08:07:03.782" v="1881" actId="14100"/>
          <ac:picMkLst>
            <pc:docMk/>
            <pc:sldMk cId="3259714366" sldId="349"/>
            <ac:picMk id="13" creationId="{16A8208D-368D-43EF-974C-E30282E25762}"/>
          </ac:picMkLst>
        </pc:picChg>
        <pc:cxnChg chg="add mod">
          <ac:chgData name="Book, Leon (uic27710)" userId="3217206a-18cc-4c3c-b43c-c8f6da7a23e7" providerId="ADAL" clId="{931167F8-2036-4A7B-9F3E-DA79BA48A8DF}" dt="2022-02-22T08:10:43.566" v="1906" actId="14100"/>
          <ac:cxnSpMkLst>
            <pc:docMk/>
            <pc:sldMk cId="3259714366" sldId="349"/>
            <ac:cxnSpMk id="16" creationId="{C79AAA29-2723-40D9-A77F-B9082FC7C76B}"/>
          </ac:cxnSpMkLst>
        </pc:cxnChg>
      </pc:sldChg>
      <pc:sldChg chg="addSp delSp modSp add mod">
        <pc:chgData name="Book, Leon (uic27710)" userId="3217206a-18cc-4c3c-b43c-c8f6da7a23e7" providerId="ADAL" clId="{931167F8-2036-4A7B-9F3E-DA79BA48A8DF}" dt="2022-02-22T12:11:30.568" v="2945" actId="1076"/>
        <pc:sldMkLst>
          <pc:docMk/>
          <pc:sldMk cId="400648919" sldId="350"/>
        </pc:sldMkLst>
        <pc:spChg chg="mod">
          <ac:chgData name="Book, Leon (uic27710)" userId="3217206a-18cc-4c3c-b43c-c8f6da7a23e7" providerId="ADAL" clId="{931167F8-2036-4A7B-9F3E-DA79BA48A8DF}" dt="2022-02-21T10:39:48.234" v="905" actId="20577"/>
          <ac:spMkLst>
            <pc:docMk/>
            <pc:sldMk cId="400648919" sldId="350"/>
            <ac:spMk id="3" creationId="{B6B35B8C-87E5-45F0-97D2-50D9ECA355AA}"/>
          </ac:spMkLst>
        </pc:spChg>
        <pc:spChg chg="mod">
          <ac:chgData name="Book, Leon (uic27710)" userId="3217206a-18cc-4c3c-b43c-c8f6da7a23e7" providerId="ADAL" clId="{931167F8-2036-4A7B-9F3E-DA79BA48A8DF}" dt="2022-02-22T08:16:08.990" v="2015" actId="208"/>
          <ac:spMkLst>
            <pc:docMk/>
            <pc:sldMk cId="400648919" sldId="350"/>
            <ac:spMk id="9" creationId="{2F9F0306-AF22-445D-8A0C-DBE2BABFE711}"/>
          </ac:spMkLst>
        </pc:spChg>
        <pc:spChg chg="add mod">
          <ac:chgData name="Book, Leon (uic27710)" userId="3217206a-18cc-4c3c-b43c-c8f6da7a23e7" providerId="ADAL" clId="{931167F8-2036-4A7B-9F3E-DA79BA48A8DF}" dt="2022-02-22T08:12:24.504" v="1929" actId="20577"/>
          <ac:spMkLst>
            <pc:docMk/>
            <pc:sldMk cId="400648919" sldId="350"/>
            <ac:spMk id="16" creationId="{01526397-AAF1-4CA3-95BA-6D387E4D884F}"/>
          </ac:spMkLst>
        </pc:spChg>
        <pc:spChg chg="add mod">
          <ac:chgData name="Book, Leon (uic27710)" userId="3217206a-18cc-4c3c-b43c-c8f6da7a23e7" providerId="ADAL" clId="{931167F8-2036-4A7B-9F3E-DA79BA48A8DF}" dt="2022-02-22T08:11:58.563" v="1912"/>
          <ac:spMkLst>
            <pc:docMk/>
            <pc:sldMk cId="400648919" sldId="350"/>
            <ac:spMk id="17" creationId="{3700D7D2-E95F-40BA-8D62-845C29D1BD58}"/>
          </ac:spMkLst>
        </pc:spChg>
        <pc:spChg chg="add mod">
          <ac:chgData name="Book, Leon (uic27710)" userId="3217206a-18cc-4c3c-b43c-c8f6da7a23e7" providerId="ADAL" clId="{931167F8-2036-4A7B-9F3E-DA79BA48A8DF}" dt="2022-02-22T08:11:58.563" v="1912"/>
          <ac:spMkLst>
            <pc:docMk/>
            <pc:sldMk cId="400648919" sldId="350"/>
            <ac:spMk id="18" creationId="{A1D6B0C9-95D1-4D10-85B5-B30AAB705021}"/>
          </ac:spMkLst>
        </pc:spChg>
        <pc:spChg chg="add mod">
          <ac:chgData name="Book, Leon (uic27710)" userId="3217206a-18cc-4c3c-b43c-c8f6da7a23e7" providerId="ADAL" clId="{931167F8-2036-4A7B-9F3E-DA79BA48A8DF}" dt="2022-02-22T08:11:58.563" v="1912"/>
          <ac:spMkLst>
            <pc:docMk/>
            <pc:sldMk cId="400648919" sldId="350"/>
            <ac:spMk id="19" creationId="{CCA638AF-A917-4EC1-AA7C-4057FC3DCB8D}"/>
          </ac:spMkLst>
        </pc:spChg>
        <pc:spChg chg="add mod">
          <ac:chgData name="Book, Leon (uic27710)" userId="3217206a-18cc-4c3c-b43c-c8f6da7a23e7" providerId="ADAL" clId="{931167F8-2036-4A7B-9F3E-DA79BA48A8DF}" dt="2022-02-22T08:16:44.159" v="2019" actId="14100"/>
          <ac:spMkLst>
            <pc:docMk/>
            <pc:sldMk cId="400648919" sldId="350"/>
            <ac:spMk id="20" creationId="{E68B59EA-0D9B-48B3-83EA-5D73073F2569}"/>
          </ac:spMkLst>
        </pc:spChg>
        <pc:spChg chg="add del mod">
          <ac:chgData name="Book, Leon (uic27710)" userId="3217206a-18cc-4c3c-b43c-c8f6da7a23e7" providerId="ADAL" clId="{931167F8-2036-4A7B-9F3E-DA79BA48A8DF}" dt="2022-02-22T08:17:01.479" v="2022" actId="478"/>
          <ac:spMkLst>
            <pc:docMk/>
            <pc:sldMk cId="400648919" sldId="350"/>
            <ac:spMk id="31" creationId="{6DB94567-EE5D-43D4-8BFD-590B1DD78E15}"/>
          </ac:spMkLst>
        </pc:spChg>
        <pc:spChg chg="add mod">
          <ac:chgData name="Book, Leon (uic27710)" userId="3217206a-18cc-4c3c-b43c-c8f6da7a23e7" providerId="ADAL" clId="{931167F8-2036-4A7B-9F3E-DA79BA48A8DF}" dt="2022-02-22T12:10:45.221" v="2937" actId="20577"/>
          <ac:spMkLst>
            <pc:docMk/>
            <pc:sldMk cId="400648919" sldId="350"/>
            <ac:spMk id="33" creationId="{4447B44A-7479-4E3F-AA10-0A679C45D10A}"/>
          </ac:spMkLst>
        </pc:spChg>
        <pc:spChg chg="add del">
          <ac:chgData name="Book, Leon (uic27710)" userId="3217206a-18cc-4c3c-b43c-c8f6da7a23e7" providerId="ADAL" clId="{931167F8-2036-4A7B-9F3E-DA79BA48A8DF}" dt="2022-02-22T12:04:32.248" v="2888" actId="11529"/>
          <ac:spMkLst>
            <pc:docMk/>
            <pc:sldMk cId="400648919" sldId="350"/>
            <ac:spMk id="41" creationId="{DB3DA3A3-7A69-481E-BE51-9E054DDC663D}"/>
          </ac:spMkLst>
        </pc:spChg>
        <pc:spChg chg="add del">
          <ac:chgData name="Book, Leon (uic27710)" userId="3217206a-18cc-4c3c-b43c-c8f6da7a23e7" providerId="ADAL" clId="{931167F8-2036-4A7B-9F3E-DA79BA48A8DF}" dt="2022-02-22T12:05:32.003" v="2894" actId="11529"/>
          <ac:spMkLst>
            <pc:docMk/>
            <pc:sldMk cId="400648919" sldId="350"/>
            <ac:spMk id="42" creationId="{7661070E-73C4-4E3B-9D71-32B74954F48B}"/>
          </ac:spMkLst>
        </pc:spChg>
        <pc:spChg chg="add del">
          <ac:chgData name="Book, Leon (uic27710)" userId="3217206a-18cc-4c3c-b43c-c8f6da7a23e7" providerId="ADAL" clId="{931167F8-2036-4A7B-9F3E-DA79BA48A8DF}" dt="2022-02-22T12:05:31.648" v="2893" actId="11529"/>
          <ac:spMkLst>
            <pc:docMk/>
            <pc:sldMk cId="400648919" sldId="350"/>
            <ac:spMk id="43" creationId="{0CF34C28-9BCE-4543-9E23-FAB3C6C26C54}"/>
          </ac:spMkLst>
        </pc:spChg>
        <pc:spChg chg="add del">
          <ac:chgData name="Book, Leon (uic27710)" userId="3217206a-18cc-4c3c-b43c-c8f6da7a23e7" providerId="ADAL" clId="{931167F8-2036-4A7B-9F3E-DA79BA48A8DF}" dt="2022-02-22T12:05:55.845" v="2898" actId="11529"/>
          <ac:spMkLst>
            <pc:docMk/>
            <pc:sldMk cId="400648919" sldId="350"/>
            <ac:spMk id="44" creationId="{CDA67C3A-3FE2-4CD7-B8B1-10B4E2DB5044}"/>
          </ac:spMkLst>
        </pc:spChg>
        <pc:spChg chg="add del">
          <ac:chgData name="Book, Leon (uic27710)" userId="3217206a-18cc-4c3c-b43c-c8f6da7a23e7" providerId="ADAL" clId="{931167F8-2036-4A7B-9F3E-DA79BA48A8DF}" dt="2022-02-22T12:06:17.717" v="2900" actId="11529"/>
          <ac:spMkLst>
            <pc:docMk/>
            <pc:sldMk cId="400648919" sldId="350"/>
            <ac:spMk id="45" creationId="{153FAC42-999B-4482-9289-F5B12B5A011F}"/>
          </ac:spMkLst>
        </pc:spChg>
        <pc:spChg chg="add del mod">
          <ac:chgData name="Book, Leon (uic27710)" userId="3217206a-18cc-4c3c-b43c-c8f6da7a23e7" providerId="ADAL" clId="{931167F8-2036-4A7B-9F3E-DA79BA48A8DF}" dt="2022-02-22T12:07:08.898" v="2905" actId="478"/>
          <ac:spMkLst>
            <pc:docMk/>
            <pc:sldMk cId="400648919" sldId="350"/>
            <ac:spMk id="46" creationId="{54B0A704-1C29-4725-9F07-D579C45175E2}"/>
          </ac:spMkLst>
        </pc:spChg>
        <pc:spChg chg="add del mod">
          <ac:chgData name="Book, Leon (uic27710)" userId="3217206a-18cc-4c3c-b43c-c8f6da7a23e7" providerId="ADAL" clId="{931167F8-2036-4A7B-9F3E-DA79BA48A8DF}" dt="2022-02-22T12:07:56.925" v="2913" actId="478"/>
          <ac:spMkLst>
            <pc:docMk/>
            <pc:sldMk cId="400648919" sldId="350"/>
            <ac:spMk id="47" creationId="{DE02BF78-0634-4896-BE39-6AA9F9F6DD32}"/>
          </ac:spMkLst>
        </pc:spChg>
        <pc:spChg chg="add mod">
          <ac:chgData name="Book, Leon (uic27710)" userId="3217206a-18cc-4c3c-b43c-c8f6da7a23e7" providerId="ADAL" clId="{931167F8-2036-4A7B-9F3E-DA79BA48A8DF}" dt="2022-02-22T12:11:18.005" v="2942" actId="1076"/>
          <ac:spMkLst>
            <pc:docMk/>
            <pc:sldMk cId="400648919" sldId="350"/>
            <ac:spMk id="48" creationId="{B30BD0EF-5945-452F-B273-88E3F303434F}"/>
          </ac:spMkLst>
        </pc:spChg>
        <pc:spChg chg="add mod">
          <ac:chgData name="Book, Leon (uic27710)" userId="3217206a-18cc-4c3c-b43c-c8f6da7a23e7" providerId="ADAL" clId="{931167F8-2036-4A7B-9F3E-DA79BA48A8DF}" dt="2022-02-22T12:11:30.568" v="2945" actId="1076"/>
          <ac:spMkLst>
            <pc:docMk/>
            <pc:sldMk cId="400648919" sldId="350"/>
            <ac:spMk id="49" creationId="{1900363A-B11A-4029-8B86-841B88B4D100}"/>
          </ac:spMkLst>
        </pc:spChg>
        <pc:picChg chg="add del mod">
          <ac:chgData name="Book, Leon (uic27710)" userId="3217206a-18cc-4c3c-b43c-c8f6da7a23e7" providerId="ADAL" clId="{931167F8-2036-4A7B-9F3E-DA79BA48A8DF}" dt="2022-02-22T08:11:58.078" v="1911" actId="478"/>
          <ac:picMkLst>
            <pc:docMk/>
            <pc:sldMk cId="400648919" sldId="350"/>
            <ac:picMk id="7" creationId="{36473E76-A952-453B-8EF8-9F54052E4EB5}"/>
          </ac:picMkLst>
        </pc:picChg>
        <pc:picChg chg="add del mod">
          <ac:chgData name="Book, Leon (uic27710)" userId="3217206a-18cc-4c3c-b43c-c8f6da7a23e7" providerId="ADAL" clId="{931167F8-2036-4A7B-9F3E-DA79BA48A8DF}" dt="2022-02-22T08:12:11.552" v="1917" actId="478"/>
          <ac:picMkLst>
            <pc:docMk/>
            <pc:sldMk cId="400648919" sldId="350"/>
            <ac:picMk id="11" creationId="{1895633A-B854-4D49-894D-F042C797AEED}"/>
          </ac:picMkLst>
        </pc:picChg>
        <pc:picChg chg="add del mod">
          <ac:chgData name="Book, Leon (uic27710)" userId="3217206a-18cc-4c3c-b43c-c8f6da7a23e7" providerId="ADAL" clId="{931167F8-2036-4A7B-9F3E-DA79BA48A8DF}" dt="2022-02-22T08:12:29.650" v="1930" actId="478"/>
          <ac:picMkLst>
            <pc:docMk/>
            <pc:sldMk cId="400648919" sldId="350"/>
            <ac:picMk id="12" creationId="{A9242208-8BFD-4490-A7CB-833F6A7C9112}"/>
          </ac:picMkLst>
        </pc:picChg>
        <pc:picChg chg="add del mod">
          <ac:chgData name="Book, Leon (uic27710)" userId="3217206a-18cc-4c3c-b43c-c8f6da7a23e7" providerId="ADAL" clId="{931167F8-2036-4A7B-9F3E-DA79BA48A8DF}" dt="2022-02-22T08:12:47.539" v="1936" actId="478"/>
          <ac:picMkLst>
            <pc:docMk/>
            <pc:sldMk cId="400648919" sldId="350"/>
            <ac:picMk id="13" creationId="{D31028C3-3A83-4AFB-A9E6-04B0839C20B5}"/>
          </ac:picMkLst>
        </pc:picChg>
        <pc:picChg chg="add del mod">
          <ac:chgData name="Book, Leon (uic27710)" userId="3217206a-18cc-4c3c-b43c-c8f6da7a23e7" providerId="ADAL" clId="{931167F8-2036-4A7B-9F3E-DA79BA48A8DF}" dt="2022-02-22T08:13:02.913" v="1942" actId="478"/>
          <ac:picMkLst>
            <pc:docMk/>
            <pc:sldMk cId="400648919" sldId="350"/>
            <ac:picMk id="14" creationId="{A33008A2-0104-4DBC-8673-93E30F387536}"/>
          </ac:picMkLst>
        </pc:picChg>
        <pc:picChg chg="add del mod">
          <ac:chgData name="Book, Leon (uic27710)" userId="3217206a-18cc-4c3c-b43c-c8f6da7a23e7" providerId="ADAL" clId="{931167F8-2036-4A7B-9F3E-DA79BA48A8DF}" dt="2022-02-22T08:13:53.348" v="1981" actId="478"/>
          <ac:picMkLst>
            <pc:docMk/>
            <pc:sldMk cId="400648919" sldId="350"/>
            <ac:picMk id="15" creationId="{FE2639FF-62DA-4CC9-8A43-2B26E5E79D99}"/>
          </ac:picMkLst>
        </pc:picChg>
        <pc:picChg chg="add mod">
          <ac:chgData name="Book, Leon (uic27710)" userId="3217206a-18cc-4c3c-b43c-c8f6da7a23e7" providerId="ADAL" clId="{931167F8-2036-4A7B-9F3E-DA79BA48A8DF}" dt="2022-02-22T08:12:19.646" v="1919" actId="14100"/>
          <ac:picMkLst>
            <pc:docMk/>
            <pc:sldMk cId="400648919" sldId="350"/>
            <ac:picMk id="22" creationId="{FFAAB26F-A644-4099-9DE8-80AD984F5468}"/>
          </ac:picMkLst>
        </pc:picChg>
        <pc:picChg chg="add mod">
          <ac:chgData name="Book, Leon (uic27710)" userId="3217206a-18cc-4c3c-b43c-c8f6da7a23e7" providerId="ADAL" clId="{931167F8-2036-4A7B-9F3E-DA79BA48A8DF}" dt="2022-02-22T08:14:11.289" v="1988" actId="1076"/>
          <ac:picMkLst>
            <pc:docMk/>
            <pc:sldMk cId="400648919" sldId="350"/>
            <ac:picMk id="24" creationId="{BEA37A2F-8398-49CC-A408-76E24C50B3A6}"/>
          </ac:picMkLst>
        </pc:picChg>
        <pc:picChg chg="add mod">
          <ac:chgData name="Book, Leon (uic27710)" userId="3217206a-18cc-4c3c-b43c-c8f6da7a23e7" providerId="ADAL" clId="{931167F8-2036-4A7B-9F3E-DA79BA48A8DF}" dt="2022-02-22T08:22:41.108" v="2358" actId="1076"/>
          <ac:picMkLst>
            <pc:docMk/>
            <pc:sldMk cId="400648919" sldId="350"/>
            <ac:picMk id="26" creationId="{242465F1-8858-424E-A73B-4E397BA9CDE4}"/>
          </ac:picMkLst>
        </pc:picChg>
        <pc:picChg chg="add mod">
          <ac:chgData name="Book, Leon (uic27710)" userId="3217206a-18cc-4c3c-b43c-c8f6da7a23e7" providerId="ADAL" clId="{931167F8-2036-4A7B-9F3E-DA79BA48A8DF}" dt="2022-02-22T08:13:19.795" v="1945" actId="14100"/>
          <ac:picMkLst>
            <pc:docMk/>
            <pc:sldMk cId="400648919" sldId="350"/>
            <ac:picMk id="28" creationId="{F0BB2F44-6078-4A4F-B6FC-6F7A1BB43A57}"/>
          </ac:picMkLst>
        </pc:picChg>
        <pc:picChg chg="add mod">
          <ac:chgData name="Book, Leon (uic27710)" userId="3217206a-18cc-4c3c-b43c-c8f6da7a23e7" providerId="ADAL" clId="{931167F8-2036-4A7B-9F3E-DA79BA48A8DF}" dt="2022-02-22T08:14:08.933" v="1987" actId="14100"/>
          <ac:picMkLst>
            <pc:docMk/>
            <pc:sldMk cId="400648919" sldId="350"/>
            <ac:picMk id="30" creationId="{FD988917-B235-4A6A-9808-CBACBE2D41CD}"/>
          </ac:picMkLst>
        </pc:picChg>
        <pc:picChg chg="add del mod">
          <ac:chgData name="Book, Leon (uic27710)" userId="3217206a-18cc-4c3c-b43c-c8f6da7a23e7" providerId="ADAL" clId="{931167F8-2036-4A7B-9F3E-DA79BA48A8DF}" dt="2022-02-22T12:11:11.645" v="2941" actId="1076"/>
          <ac:picMkLst>
            <pc:docMk/>
            <pc:sldMk cId="400648919" sldId="350"/>
            <ac:picMk id="32" creationId="{FB9EA2B7-557A-45D0-8C27-6C75322F5176}"/>
          </ac:picMkLst>
        </pc:picChg>
        <pc:cxnChg chg="add del">
          <ac:chgData name="Book, Leon (uic27710)" userId="3217206a-18cc-4c3c-b43c-c8f6da7a23e7" providerId="ADAL" clId="{931167F8-2036-4A7B-9F3E-DA79BA48A8DF}" dt="2022-02-22T12:03:36.132" v="2880" actId="11529"/>
          <ac:cxnSpMkLst>
            <pc:docMk/>
            <pc:sldMk cId="400648919" sldId="350"/>
            <ac:cxnSpMk id="35" creationId="{24A12AE3-6876-4906-AC4F-5F9D06DE2974}"/>
          </ac:cxnSpMkLst>
        </pc:cxnChg>
        <pc:cxnChg chg="add mod">
          <ac:chgData name="Book, Leon (uic27710)" userId="3217206a-18cc-4c3c-b43c-c8f6da7a23e7" providerId="ADAL" clId="{931167F8-2036-4A7B-9F3E-DA79BA48A8DF}" dt="2022-02-22T12:04:02.515" v="2883" actId="13822"/>
          <ac:cxnSpMkLst>
            <pc:docMk/>
            <pc:sldMk cId="400648919" sldId="350"/>
            <ac:cxnSpMk id="37" creationId="{F55331B8-8AFC-4F0E-BB1D-3557A3114356}"/>
          </ac:cxnSpMkLst>
        </pc:cxnChg>
        <pc:cxnChg chg="add mod">
          <ac:chgData name="Book, Leon (uic27710)" userId="3217206a-18cc-4c3c-b43c-c8f6da7a23e7" providerId="ADAL" clId="{931167F8-2036-4A7B-9F3E-DA79BA48A8DF}" dt="2022-02-22T12:04:15.442" v="2886" actId="14100"/>
          <ac:cxnSpMkLst>
            <pc:docMk/>
            <pc:sldMk cId="400648919" sldId="350"/>
            <ac:cxnSpMk id="38" creationId="{F629996D-546E-41F7-AE00-9D528190A1D8}"/>
          </ac:cxnSpMkLst>
        </pc:cxnChg>
      </pc:sldChg>
      <pc:sldChg chg="addSp modSp add mod">
        <pc:chgData name="Book, Leon (uic27710)" userId="3217206a-18cc-4c3c-b43c-c8f6da7a23e7" providerId="ADAL" clId="{931167F8-2036-4A7B-9F3E-DA79BA48A8DF}" dt="2022-02-22T08:16:15.636" v="2016" actId="208"/>
        <pc:sldMkLst>
          <pc:docMk/>
          <pc:sldMk cId="1833191264" sldId="351"/>
        </pc:sldMkLst>
        <pc:spChg chg="mod">
          <ac:chgData name="Book, Leon (uic27710)" userId="3217206a-18cc-4c3c-b43c-c8f6da7a23e7" providerId="ADAL" clId="{931167F8-2036-4A7B-9F3E-DA79BA48A8DF}" dt="2022-02-22T07:41:08.959" v="1057" actId="20577"/>
          <ac:spMkLst>
            <pc:docMk/>
            <pc:sldMk cId="1833191264" sldId="351"/>
            <ac:spMk id="3" creationId="{B6B35B8C-87E5-45F0-97D2-50D9ECA355AA}"/>
          </ac:spMkLst>
        </pc:spChg>
        <pc:spChg chg="mod">
          <ac:chgData name="Book, Leon (uic27710)" userId="3217206a-18cc-4c3c-b43c-c8f6da7a23e7" providerId="ADAL" clId="{931167F8-2036-4A7B-9F3E-DA79BA48A8DF}" dt="2022-02-22T08:16:15.636" v="2016" actId="208"/>
          <ac:spMkLst>
            <pc:docMk/>
            <pc:sldMk cId="1833191264" sldId="351"/>
            <ac:spMk id="9" creationId="{2F9F0306-AF22-445D-8A0C-DBE2BABFE711}"/>
          </ac:spMkLst>
        </pc:spChg>
        <pc:spChg chg="add mod">
          <ac:chgData name="Book, Leon (uic27710)" userId="3217206a-18cc-4c3c-b43c-c8f6da7a23e7" providerId="ADAL" clId="{931167F8-2036-4A7B-9F3E-DA79BA48A8DF}" dt="2022-02-22T08:15:41.261" v="2011"/>
          <ac:spMkLst>
            <pc:docMk/>
            <pc:sldMk cId="1833191264" sldId="351"/>
            <ac:spMk id="11" creationId="{230A8D20-026C-4553-BD2C-4E7FD29700EB}"/>
          </ac:spMkLst>
        </pc:spChg>
        <pc:picChg chg="add mod ord">
          <ac:chgData name="Book, Leon (uic27710)" userId="3217206a-18cc-4c3c-b43c-c8f6da7a23e7" providerId="ADAL" clId="{931167F8-2036-4A7B-9F3E-DA79BA48A8DF}" dt="2022-02-22T08:15:56.777" v="2014" actId="1076"/>
          <ac:picMkLst>
            <pc:docMk/>
            <pc:sldMk cId="1833191264" sldId="351"/>
            <ac:picMk id="7" creationId="{EF96A9F4-FABF-4249-AC97-3EC15DFBF0F0}"/>
          </ac:picMkLst>
        </pc:picChg>
        <pc:cxnChg chg="add mod">
          <ac:chgData name="Book, Leon (uic27710)" userId="3217206a-18cc-4c3c-b43c-c8f6da7a23e7" providerId="ADAL" clId="{931167F8-2036-4A7B-9F3E-DA79BA48A8DF}" dt="2022-02-22T08:15:41.261" v="2011"/>
          <ac:cxnSpMkLst>
            <pc:docMk/>
            <pc:sldMk cId="1833191264" sldId="351"/>
            <ac:cxnSpMk id="12" creationId="{E7377189-0663-4C2E-80A8-1F9D0E9B15EA}"/>
          </ac:cxnSpMkLst>
        </pc:cxnChg>
      </pc:sldChg>
      <pc:sldChg chg="addSp modSp add mod">
        <pc:chgData name="Book, Leon (uic27710)" userId="3217206a-18cc-4c3c-b43c-c8f6da7a23e7" providerId="ADAL" clId="{931167F8-2036-4A7B-9F3E-DA79BA48A8DF}" dt="2022-02-22T09:25:05.443" v="2824" actId="15"/>
        <pc:sldMkLst>
          <pc:docMk/>
          <pc:sldMk cId="2896708432" sldId="352"/>
        </pc:sldMkLst>
        <pc:spChg chg="mod">
          <ac:chgData name="Book, Leon (uic27710)" userId="3217206a-18cc-4c3c-b43c-c8f6da7a23e7" providerId="ADAL" clId="{931167F8-2036-4A7B-9F3E-DA79BA48A8DF}" dt="2022-02-21T10:40:16.759" v="970" actId="20577"/>
          <ac:spMkLst>
            <pc:docMk/>
            <pc:sldMk cId="2896708432" sldId="352"/>
            <ac:spMk id="3" creationId="{B6B35B8C-87E5-45F0-97D2-50D9ECA355AA}"/>
          </ac:spMkLst>
        </pc:spChg>
        <pc:spChg chg="mod">
          <ac:chgData name="Book, Leon (uic27710)" userId="3217206a-18cc-4c3c-b43c-c8f6da7a23e7" providerId="ADAL" clId="{931167F8-2036-4A7B-9F3E-DA79BA48A8DF}" dt="2022-02-22T08:16:21.313" v="2017" actId="208"/>
          <ac:spMkLst>
            <pc:docMk/>
            <pc:sldMk cId="2896708432" sldId="352"/>
            <ac:spMk id="9" creationId="{2F9F0306-AF22-445D-8A0C-DBE2BABFE711}"/>
          </ac:spMkLst>
        </pc:spChg>
        <pc:spChg chg="add mod">
          <ac:chgData name="Book, Leon (uic27710)" userId="3217206a-18cc-4c3c-b43c-c8f6da7a23e7" providerId="ADAL" clId="{931167F8-2036-4A7B-9F3E-DA79BA48A8DF}" dt="2022-02-22T09:25:05.443" v="2824" actId="15"/>
          <ac:spMkLst>
            <pc:docMk/>
            <pc:sldMk cId="2896708432" sldId="352"/>
            <ac:spMk id="11" creationId="{E9C09BD4-0FAF-4BE3-8FCE-8EF9845D0215}"/>
          </ac:spMkLst>
        </pc:spChg>
      </pc:sldChg>
      <pc:sldChg chg="addSp delSp modSp add mod ord">
        <pc:chgData name="Book, Leon (uic27710)" userId="3217206a-18cc-4c3c-b43c-c8f6da7a23e7" providerId="ADAL" clId="{931167F8-2036-4A7B-9F3E-DA79BA48A8DF}" dt="2022-02-22T08:10:12.805" v="1901" actId="1036"/>
        <pc:sldMkLst>
          <pc:docMk/>
          <pc:sldMk cId="3221363538" sldId="353"/>
        </pc:sldMkLst>
        <pc:spChg chg="mod">
          <ac:chgData name="Book, Leon (uic27710)" userId="3217206a-18cc-4c3c-b43c-c8f6da7a23e7" providerId="ADAL" clId="{931167F8-2036-4A7B-9F3E-DA79BA48A8DF}" dt="2022-02-21T10:39:06.743" v="840" actId="20577"/>
          <ac:spMkLst>
            <pc:docMk/>
            <pc:sldMk cId="3221363538" sldId="353"/>
            <ac:spMk id="3" creationId="{B6B35B8C-87E5-45F0-97D2-50D9ECA355AA}"/>
          </ac:spMkLst>
        </pc:spChg>
        <pc:spChg chg="del">
          <ac:chgData name="Book, Leon (uic27710)" userId="3217206a-18cc-4c3c-b43c-c8f6da7a23e7" providerId="ADAL" clId="{931167F8-2036-4A7B-9F3E-DA79BA48A8DF}" dt="2022-02-21T10:39:12.416" v="841" actId="478"/>
          <ac:spMkLst>
            <pc:docMk/>
            <pc:sldMk cId="3221363538" sldId="353"/>
            <ac:spMk id="22" creationId="{0B74488B-F954-4532-B794-8BF5C9C2F0BD}"/>
          </ac:spMkLst>
        </pc:spChg>
        <pc:spChg chg="del">
          <ac:chgData name="Book, Leon (uic27710)" userId="3217206a-18cc-4c3c-b43c-c8f6da7a23e7" providerId="ADAL" clId="{931167F8-2036-4A7B-9F3E-DA79BA48A8DF}" dt="2022-02-21T10:39:12.416" v="841" actId="478"/>
          <ac:spMkLst>
            <pc:docMk/>
            <pc:sldMk cId="3221363538" sldId="353"/>
            <ac:spMk id="23" creationId="{7955611E-37E5-450F-AFFD-4271CA44AC16}"/>
          </ac:spMkLst>
        </pc:spChg>
        <pc:spChg chg="del">
          <ac:chgData name="Book, Leon (uic27710)" userId="3217206a-18cc-4c3c-b43c-c8f6da7a23e7" providerId="ADAL" clId="{931167F8-2036-4A7B-9F3E-DA79BA48A8DF}" dt="2022-02-21T10:39:12.416" v="841" actId="478"/>
          <ac:spMkLst>
            <pc:docMk/>
            <pc:sldMk cId="3221363538" sldId="353"/>
            <ac:spMk id="24" creationId="{E6830C0E-7B64-4687-B6B9-B2648DD5D76F}"/>
          </ac:spMkLst>
        </pc:spChg>
        <pc:spChg chg="del">
          <ac:chgData name="Book, Leon (uic27710)" userId="3217206a-18cc-4c3c-b43c-c8f6da7a23e7" providerId="ADAL" clId="{931167F8-2036-4A7B-9F3E-DA79BA48A8DF}" dt="2022-02-21T10:39:12.416" v="841" actId="478"/>
          <ac:spMkLst>
            <pc:docMk/>
            <pc:sldMk cId="3221363538" sldId="353"/>
            <ac:spMk id="25" creationId="{4B9ADF8D-ECB9-46D3-B852-46144C5A7363}"/>
          </ac:spMkLst>
        </pc:spChg>
        <pc:spChg chg="del">
          <ac:chgData name="Book, Leon (uic27710)" userId="3217206a-18cc-4c3c-b43c-c8f6da7a23e7" providerId="ADAL" clId="{931167F8-2036-4A7B-9F3E-DA79BA48A8DF}" dt="2022-02-21T10:39:12.416" v="841" actId="478"/>
          <ac:spMkLst>
            <pc:docMk/>
            <pc:sldMk cId="3221363538" sldId="353"/>
            <ac:spMk id="26" creationId="{35F37E21-6D4F-4FF4-89C1-BCC4722E73E1}"/>
          </ac:spMkLst>
        </pc:spChg>
        <pc:spChg chg="del mod ord">
          <ac:chgData name="Book, Leon (uic27710)" userId="3217206a-18cc-4c3c-b43c-c8f6da7a23e7" providerId="ADAL" clId="{931167F8-2036-4A7B-9F3E-DA79BA48A8DF}" dt="2022-02-22T07:52:24.611" v="1157" actId="478"/>
          <ac:spMkLst>
            <pc:docMk/>
            <pc:sldMk cId="3221363538" sldId="353"/>
            <ac:spMk id="27" creationId="{1F01B89C-BBEF-4FEE-91DE-CAC2A2D5F610}"/>
          </ac:spMkLst>
        </pc:spChg>
        <pc:spChg chg="add mod">
          <ac:chgData name="Book, Leon (uic27710)" userId="3217206a-18cc-4c3c-b43c-c8f6da7a23e7" providerId="ADAL" clId="{931167F8-2036-4A7B-9F3E-DA79BA48A8DF}" dt="2022-02-22T08:10:12.805" v="1901" actId="1036"/>
          <ac:spMkLst>
            <pc:docMk/>
            <pc:sldMk cId="3221363538" sldId="353"/>
            <ac:spMk id="28" creationId="{3C88B559-5301-4A0B-AD39-129C61BEFC25}"/>
          </ac:spMkLst>
        </pc:spChg>
        <pc:spChg chg="add del mod ord">
          <ac:chgData name="Book, Leon (uic27710)" userId="3217206a-18cc-4c3c-b43c-c8f6da7a23e7" providerId="ADAL" clId="{931167F8-2036-4A7B-9F3E-DA79BA48A8DF}" dt="2022-02-22T07:52:26.676" v="1158" actId="478"/>
          <ac:spMkLst>
            <pc:docMk/>
            <pc:sldMk cId="3221363538" sldId="353"/>
            <ac:spMk id="29" creationId="{DC74736C-91DE-46C1-AC69-A669AA005BC0}"/>
          </ac:spMkLst>
        </pc:spChg>
        <pc:picChg chg="del">
          <ac:chgData name="Book, Leon (uic27710)" userId="3217206a-18cc-4c3c-b43c-c8f6da7a23e7" providerId="ADAL" clId="{931167F8-2036-4A7B-9F3E-DA79BA48A8DF}" dt="2022-02-21T10:39:12.416" v="841" actId="478"/>
          <ac:picMkLst>
            <pc:docMk/>
            <pc:sldMk cId="3221363538" sldId="353"/>
            <ac:picMk id="7" creationId="{507BC257-9BDF-4D1E-BA0B-B1A92A787C4F}"/>
          </ac:picMkLst>
        </pc:picChg>
        <pc:picChg chg="add mod modCrop">
          <ac:chgData name="Book, Leon (uic27710)" userId="3217206a-18cc-4c3c-b43c-c8f6da7a23e7" providerId="ADAL" clId="{931167F8-2036-4A7B-9F3E-DA79BA48A8DF}" dt="2022-02-22T07:48:27.213" v="1064" actId="1076"/>
          <ac:picMkLst>
            <pc:docMk/>
            <pc:sldMk cId="3221363538" sldId="353"/>
            <ac:picMk id="9" creationId="{30A67D40-8D62-48B2-A20E-EE1CD7679636}"/>
          </ac:picMkLst>
        </pc:picChg>
        <pc:picChg chg="del">
          <ac:chgData name="Book, Leon (uic27710)" userId="3217206a-18cc-4c3c-b43c-c8f6da7a23e7" providerId="ADAL" clId="{931167F8-2036-4A7B-9F3E-DA79BA48A8DF}" dt="2022-02-21T10:39:12.416" v="841" actId="478"/>
          <ac:picMkLst>
            <pc:docMk/>
            <pc:sldMk cId="3221363538" sldId="353"/>
            <ac:picMk id="11" creationId="{67942CD6-54F7-487E-889C-5FB4603134F1}"/>
          </ac:picMkLst>
        </pc:picChg>
        <pc:picChg chg="del">
          <ac:chgData name="Book, Leon (uic27710)" userId="3217206a-18cc-4c3c-b43c-c8f6da7a23e7" providerId="ADAL" clId="{931167F8-2036-4A7B-9F3E-DA79BA48A8DF}" dt="2022-02-21T10:39:12.416" v="841" actId="478"/>
          <ac:picMkLst>
            <pc:docMk/>
            <pc:sldMk cId="3221363538" sldId="353"/>
            <ac:picMk id="13" creationId="{13E5EB52-7C4C-4E7F-ABCC-E91A041063C6}"/>
          </ac:picMkLst>
        </pc:picChg>
        <pc:picChg chg="add mod">
          <ac:chgData name="Book, Leon (uic27710)" userId="3217206a-18cc-4c3c-b43c-c8f6da7a23e7" providerId="ADAL" clId="{931167F8-2036-4A7B-9F3E-DA79BA48A8DF}" dt="2022-02-22T07:48:40.179" v="1067" actId="1076"/>
          <ac:picMkLst>
            <pc:docMk/>
            <pc:sldMk cId="3221363538" sldId="353"/>
            <ac:picMk id="14" creationId="{B317A583-7C93-4A16-8492-C3CDA153D1AC}"/>
          </ac:picMkLst>
        </pc:picChg>
        <pc:picChg chg="del">
          <ac:chgData name="Book, Leon (uic27710)" userId="3217206a-18cc-4c3c-b43c-c8f6da7a23e7" providerId="ADAL" clId="{931167F8-2036-4A7B-9F3E-DA79BA48A8DF}" dt="2022-02-21T10:39:12.416" v="841" actId="478"/>
          <ac:picMkLst>
            <pc:docMk/>
            <pc:sldMk cId="3221363538" sldId="353"/>
            <ac:picMk id="17" creationId="{7E58555E-39E9-4FDC-89FB-AE8FE6D6AAF4}"/>
          </ac:picMkLst>
        </pc:picChg>
        <pc:picChg chg="del">
          <ac:chgData name="Book, Leon (uic27710)" userId="3217206a-18cc-4c3c-b43c-c8f6da7a23e7" providerId="ADAL" clId="{931167F8-2036-4A7B-9F3E-DA79BA48A8DF}" dt="2022-02-21T10:39:12.416" v="841" actId="478"/>
          <ac:picMkLst>
            <pc:docMk/>
            <pc:sldMk cId="3221363538" sldId="353"/>
            <ac:picMk id="19" creationId="{C0222335-D659-4B6B-9A33-573F65E342DB}"/>
          </ac:picMkLst>
        </pc:picChg>
        <pc:picChg chg="del">
          <ac:chgData name="Book, Leon (uic27710)" userId="3217206a-18cc-4c3c-b43c-c8f6da7a23e7" providerId="ADAL" clId="{931167F8-2036-4A7B-9F3E-DA79BA48A8DF}" dt="2022-02-21T10:39:12.416" v="841" actId="478"/>
          <ac:picMkLst>
            <pc:docMk/>
            <pc:sldMk cId="3221363538" sldId="353"/>
            <ac:picMk id="21" creationId="{8BA5D2ED-B787-4246-A4C6-F3B322DFF1B7}"/>
          </ac:picMkLst>
        </pc:picChg>
        <pc:cxnChg chg="add mod">
          <ac:chgData name="Book, Leon (uic27710)" userId="3217206a-18cc-4c3c-b43c-c8f6da7a23e7" providerId="ADAL" clId="{931167F8-2036-4A7B-9F3E-DA79BA48A8DF}" dt="2022-02-22T07:52:49.268" v="1161" actId="13822"/>
          <ac:cxnSpMkLst>
            <pc:docMk/>
            <pc:sldMk cId="3221363538" sldId="353"/>
            <ac:cxnSpMk id="16" creationId="{90BEEA3F-4E83-45C9-81E7-852528867A12}"/>
          </ac:cxnSpMkLst>
        </pc:cxnChg>
      </pc:sldChg>
      <pc:sldChg chg="addSp delSp modSp add mod ord addCm delCm">
        <pc:chgData name="Book, Leon (uic27710)" userId="3217206a-18cc-4c3c-b43c-c8f6da7a23e7" providerId="ADAL" clId="{931167F8-2036-4A7B-9F3E-DA79BA48A8DF}" dt="2022-02-22T08:08:49.840" v="1898" actId="208"/>
        <pc:sldMkLst>
          <pc:docMk/>
          <pc:sldMk cId="2471702365" sldId="361"/>
        </pc:sldMkLst>
        <pc:spChg chg="mod">
          <ac:chgData name="Book, Leon (uic27710)" userId="3217206a-18cc-4c3c-b43c-c8f6da7a23e7" providerId="ADAL" clId="{931167F8-2036-4A7B-9F3E-DA79BA48A8DF}" dt="2022-02-22T08:00:37.097" v="1565" actId="20577"/>
          <ac:spMkLst>
            <pc:docMk/>
            <pc:sldMk cId="2471702365" sldId="361"/>
            <ac:spMk id="3" creationId="{B6B35B8C-87E5-45F0-97D2-50D9ECA355AA}"/>
          </ac:spMkLst>
        </pc:spChg>
        <pc:spChg chg="add del mod">
          <ac:chgData name="Book, Leon (uic27710)" userId="3217206a-18cc-4c3c-b43c-c8f6da7a23e7" providerId="ADAL" clId="{931167F8-2036-4A7B-9F3E-DA79BA48A8DF}" dt="2022-02-22T07:57:05.123" v="1376" actId="478"/>
          <ac:spMkLst>
            <pc:docMk/>
            <pc:sldMk cId="2471702365" sldId="361"/>
            <ac:spMk id="7" creationId="{EFF6FD01-3DCD-4B36-BD3A-4310A670A528}"/>
          </ac:spMkLst>
        </pc:spChg>
        <pc:spChg chg="del mod">
          <ac:chgData name="Book, Leon (uic27710)" userId="3217206a-18cc-4c3c-b43c-c8f6da7a23e7" providerId="ADAL" clId="{931167F8-2036-4A7B-9F3E-DA79BA48A8DF}" dt="2022-02-22T07:59:31.733" v="1514" actId="478"/>
          <ac:spMkLst>
            <pc:docMk/>
            <pc:sldMk cId="2471702365" sldId="361"/>
            <ac:spMk id="10" creationId="{E9A2E512-0C9C-4AA6-909C-2C37CD1305B8}"/>
          </ac:spMkLst>
        </pc:spChg>
        <pc:spChg chg="add mod">
          <ac:chgData name="Book, Leon (uic27710)" userId="3217206a-18cc-4c3c-b43c-c8f6da7a23e7" providerId="ADAL" clId="{931167F8-2036-4A7B-9F3E-DA79BA48A8DF}" dt="2022-02-22T08:08:49.840" v="1898" actId="208"/>
          <ac:spMkLst>
            <pc:docMk/>
            <pc:sldMk cId="2471702365" sldId="361"/>
            <ac:spMk id="12" creationId="{486DA953-BF20-4708-A13B-A57FF8FB77DC}"/>
          </ac:spMkLst>
        </pc:spChg>
        <pc:spChg chg="add mod">
          <ac:chgData name="Book, Leon (uic27710)" userId="3217206a-18cc-4c3c-b43c-c8f6da7a23e7" providerId="ADAL" clId="{931167F8-2036-4A7B-9F3E-DA79BA48A8DF}" dt="2022-02-22T07:59:39.388" v="1515" actId="1076"/>
          <ac:spMkLst>
            <pc:docMk/>
            <pc:sldMk cId="2471702365" sldId="361"/>
            <ac:spMk id="16" creationId="{8BFDE26D-8F9D-4760-9EF9-D08FB56559B7}"/>
          </ac:spMkLst>
        </pc:spChg>
        <pc:spChg chg="add mod">
          <ac:chgData name="Book, Leon (uic27710)" userId="3217206a-18cc-4c3c-b43c-c8f6da7a23e7" providerId="ADAL" clId="{931167F8-2036-4A7B-9F3E-DA79BA48A8DF}" dt="2022-02-22T07:59:39.388" v="1515" actId="1076"/>
          <ac:spMkLst>
            <pc:docMk/>
            <pc:sldMk cId="2471702365" sldId="361"/>
            <ac:spMk id="17" creationId="{7DEFECD6-D13F-4164-B803-FAFCE07CEB65}"/>
          </ac:spMkLst>
        </pc:spChg>
        <pc:spChg chg="del mod">
          <ac:chgData name="Book, Leon (uic27710)" userId="3217206a-18cc-4c3c-b43c-c8f6da7a23e7" providerId="ADAL" clId="{931167F8-2036-4A7B-9F3E-DA79BA48A8DF}" dt="2022-02-22T07:56:37.573" v="1373" actId="478"/>
          <ac:spMkLst>
            <pc:docMk/>
            <pc:sldMk cId="2471702365" sldId="361"/>
            <ac:spMk id="27" creationId="{1F01B89C-BBEF-4FEE-91DE-CAC2A2D5F610}"/>
          </ac:spMkLst>
        </pc:spChg>
        <pc:spChg chg="mod">
          <ac:chgData name="Book, Leon (uic27710)" userId="3217206a-18cc-4c3c-b43c-c8f6da7a23e7" providerId="ADAL" clId="{931167F8-2036-4A7B-9F3E-DA79BA48A8DF}" dt="2022-02-22T08:00:50.220" v="1566" actId="1076"/>
          <ac:spMkLst>
            <pc:docMk/>
            <pc:sldMk cId="2471702365" sldId="361"/>
            <ac:spMk id="28" creationId="{8F8E0EE7-2E74-4BFB-836F-51E784551647}"/>
          </ac:spMkLst>
        </pc:spChg>
        <pc:picChg chg="del mod">
          <ac:chgData name="Book, Leon (uic27710)" userId="3217206a-18cc-4c3c-b43c-c8f6da7a23e7" providerId="ADAL" clId="{931167F8-2036-4A7B-9F3E-DA79BA48A8DF}" dt="2022-02-22T07:56:55.593" v="1374" actId="478"/>
          <ac:picMkLst>
            <pc:docMk/>
            <pc:sldMk cId="2471702365" sldId="361"/>
            <ac:picMk id="8" creationId="{73CFA55E-C20D-4E7E-ACD4-C47CAA0D8CF3}"/>
          </ac:picMkLst>
        </pc:picChg>
        <pc:picChg chg="del">
          <ac:chgData name="Book, Leon (uic27710)" userId="3217206a-18cc-4c3c-b43c-c8f6da7a23e7" providerId="ADAL" clId="{931167F8-2036-4A7B-9F3E-DA79BA48A8DF}" dt="2022-02-22T07:56:09.207" v="1367" actId="478"/>
          <ac:picMkLst>
            <pc:docMk/>
            <pc:sldMk cId="2471702365" sldId="361"/>
            <ac:picMk id="9" creationId="{3C68EC18-F193-4DF1-A9C5-A891E58072D5}"/>
          </ac:picMkLst>
        </pc:picChg>
        <pc:picChg chg="add mod ord">
          <ac:chgData name="Book, Leon (uic27710)" userId="3217206a-18cc-4c3c-b43c-c8f6da7a23e7" providerId="ADAL" clId="{931167F8-2036-4A7B-9F3E-DA79BA48A8DF}" dt="2022-02-22T08:08:41.848" v="1897" actId="167"/>
          <ac:picMkLst>
            <pc:docMk/>
            <pc:sldMk cId="2471702365" sldId="361"/>
            <ac:picMk id="15" creationId="{B811E8B2-B09F-4C8F-A460-D871308F826E}"/>
          </ac:picMkLst>
        </pc:picChg>
        <pc:picChg chg="add mod">
          <ac:chgData name="Book, Leon (uic27710)" userId="3217206a-18cc-4c3c-b43c-c8f6da7a23e7" providerId="ADAL" clId="{931167F8-2036-4A7B-9F3E-DA79BA48A8DF}" dt="2022-02-22T08:00:13.524" v="1522" actId="1076"/>
          <ac:picMkLst>
            <pc:docMk/>
            <pc:sldMk cId="2471702365" sldId="361"/>
            <ac:picMk id="18" creationId="{842417FC-560A-404A-ABB7-031F5BF2E96F}"/>
          </ac:picMkLst>
        </pc:picChg>
        <pc:picChg chg="mod">
          <ac:chgData name="Book, Leon (uic27710)" userId="3217206a-18cc-4c3c-b43c-c8f6da7a23e7" providerId="ADAL" clId="{931167F8-2036-4A7B-9F3E-DA79BA48A8DF}" dt="2022-02-22T07:59:39.388" v="1515" actId="1076"/>
          <ac:picMkLst>
            <pc:docMk/>
            <pc:sldMk cId="2471702365" sldId="361"/>
            <ac:picMk id="29" creationId="{56A7CA76-FD50-482A-A945-D9292410A8D6}"/>
          </ac:picMkLst>
        </pc:picChg>
      </pc:sldChg>
      <pc:sldChg chg="addSp delSp modSp new mod modClrScheme chgLayout">
        <pc:chgData name="Book, Leon (uic27710)" userId="3217206a-18cc-4c3c-b43c-c8f6da7a23e7" providerId="ADAL" clId="{931167F8-2036-4A7B-9F3E-DA79BA48A8DF}" dt="2022-02-22T12:00:55.251" v="2865" actId="20577"/>
        <pc:sldMkLst>
          <pc:docMk/>
          <pc:sldMk cId="3135622852" sldId="362"/>
        </pc:sldMkLst>
        <pc:spChg chg="del mod ord">
          <ac:chgData name="Book, Leon (uic27710)" userId="3217206a-18cc-4c3c-b43c-c8f6da7a23e7" providerId="ADAL" clId="{931167F8-2036-4A7B-9F3E-DA79BA48A8DF}" dt="2022-02-22T09:21:54.809" v="2615" actId="700"/>
          <ac:spMkLst>
            <pc:docMk/>
            <pc:sldMk cId="3135622852" sldId="362"/>
            <ac:spMk id="2" creationId="{505452B6-775A-460A-9270-F8956516F518}"/>
          </ac:spMkLst>
        </pc:spChg>
        <pc:spChg chg="del mod ord">
          <ac:chgData name="Book, Leon (uic27710)" userId="3217206a-18cc-4c3c-b43c-c8f6da7a23e7" providerId="ADAL" clId="{931167F8-2036-4A7B-9F3E-DA79BA48A8DF}" dt="2022-02-22T09:21:54.809" v="2615" actId="700"/>
          <ac:spMkLst>
            <pc:docMk/>
            <pc:sldMk cId="3135622852" sldId="362"/>
            <ac:spMk id="3" creationId="{F650C801-09BB-4E60-9C12-B0D180482362}"/>
          </ac:spMkLst>
        </pc:spChg>
        <pc:spChg chg="mod ord">
          <ac:chgData name="Book, Leon (uic27710)" userId="3217206a-18cc-4c3c-b43c-c8f6da7a23e7" providerId="ADAL" clId="{931167F8-2036-4A7B-9F3E-DA79BA48A8DF}" dt="2022-02-22T09:21:54.809" v="2615" actId="700"/>
          <ac:spMkLst>
            <pc:docMk/>
            <pc:sldMk cId="3135622852" sldId="362"/>
            <ac:spMk id="4" creationId="{265D144C-9B21-465D-87D5-0A89CF08F8FD}"/>
          </ac:spMkLst>
        </pc:spChg>
        <pc:spChg chg="mod ord">
          <ac:chgData name="Book, Leon (uic27710)" userId="3217206a-18cc-4c3c-b43c-c8f6da7a23e7" providerId="ADAL" clId="{931167F8-2036-4A7B-9F3E-DA79BA48A8DF}" dt="2022-02-22T09:21:54.809" v="2615" actId="700"/>
          <ac:spMkLst>
            <pc:docMk/>
            <pc:sldMk cId="3135622852" sldId="362"/>
            <ac:spMk id="5" creationId="{7970F8A1-6B03-40DD-9D0D-6404C2ABB630}"/>
          </ac:spMkLst>
        </pc:spChg>
        <pc:spChg chg="mod ord">
          <ac:chgData name="Book, Leon (uic27710)" userId="3217206a-18cc-4c3c-b43c-c8f6da7a23e7" providerId="ADAL" clId="{931167F8-2036-4A7B-9F3E-DA79BA48A8DF}" dt="2022-02-22T09:21:54.809" v="2615" actId="700"/>
          <ac:spMkLst>
            <pc:docMk/>
            <pc:sldMk cId="3135622852" sldId="362"/>
            <ac:spMk id="6" creationId="{B47EC5B0-B66E-4D35-8186-4F018EC0B4E7}"/>
          </ac:spMkLst>
        </pc:spChg>
        <pc:spChg chg="add mod ord">
          <ac:chgData name="Book, Leon (uic27710)" userId="3217206a-18cc-4c3c-b43c-c8f6da7a23e7" providerId="ADAL" clId="{931167F8-2036-4A7B-9F3E-DA79BA48A8DF}" dt="2022-02-22T12:00:55.251" v="2865" actId="20577"/>
          <ac:spMkLst>
            <pc:docMk/>
            <pc:sldMk cId="3135622852" sldId="362"/>
            <ac:spMk id="7" creationId="{100A0157-183F-4608-A541-061B7C93E8AB}"/>
          </ac:spMkLst>
        </pc:spChg>
        <pc:spChg chg="add mod ord">
          <ac:chgData name="Book, Leon (uic27710)" userId="3217206a-18cc-4c3c-b43c-c8f6da7a23e7" providerId="ADAL" clId="{931167F8-2036-4A7B-9F3E-DA79BA48A8DF}" dt="2022-02-22T09:24:42.213" v="2823" actId="14100"/>
          <ac:spMkLst>
            <pc:docMk/>
            <pc:sldMk cId="3135622852" sldId="362"/>
            <ac:spMk id="8" creationId="{7FFBA398-61FE-4B3F-AFA9-62734588D721}"/>
          </ac:spMkLst>
        </pc:spChg>
      </pc:sldChg>
      <pc:sldChg chg="addSp delSp modSp new mod modClrScheme chgLayout">
        <pc:chgData name="Book, Leon (uic27710)" userId="3217206a-18cc-4c3c-b43c-c8f6da7a23e7" providerId="ADAL" clId="{931167F8-2036-4A7B-9F3E-DA79BA48A8DF}" dt="2022-02-22T09:26:03.296" v="2860" actId="947"/>
        <pc:sldMkLst>
          <pc:docMk/>
          <pc:sldMk cId="761124455" sldId="363"/>
        </pc:sldMkLst>
        <pc:spChg chg="del mod ord">
          <ac:chgData name="Book, Leon (uic27710)" userId="3217206a-18cc-4c3c-b43c-c8f6da7a23e7" providerId="ADAL" clId="{931167F8-2036-4A7B-9F3E-DA79BA48A8DF}" dt="2022-02-22T09:25:20.566" v="2826" actId="700"/>
          <ac:spMkLst>
            <pc:docMk/>
            <pc:sldMk cId="761124455" sldId="363"/>
            <ac:spMk id="2" creationId="{F52008FE-8D2A-491B-9E48-766F7301D73B}"/>
          </ac:spMkLst>
        </pc:spChg>
        <pc:spChg chg="del mod ord">
          <ac:chgData name="Book, Leon (uic27710)" userId="3217206a-18cc-4c3c-b43c-c8f6da7a23e7" providerId="ADAL" clId="{931167F8-2036-4A7B-9F3E-DA79BA48A8DF}" dt="2022-02-22T09:25:20.566" v="2826" actId="700"/>
          <ac:spMkLst>
            <pc:docMk/>
            <pc:sldMk cId="761124455" sldId="363"/>
            <ac:spMk id="3" creationId="{EF6DCAF3-D1D5-4D1F-AB19-051F9257D71A}"/>
          </ac:spMkLst>
        </pc:spChg>
        <pc:spChg chg="mod ord">
          <ac:chgData name="Book, Leon (uic27710)" userId="3217206a-18cc-4c3c-b43c-c8f6da7a23e7" providerId="ADAL" clId="{931167F8-2036-4A7B-9F3E-DA79BA48A8DF}" dt="2022-02-22T09:25:20.566" v="2826" actId="700"/>
          <ac:spMkLst>
            <pc:docMk/>
            <pc:sldMk cId="761124455" sldId="363"/>
            <ac:spMk id="4" creationId="{FCE488DB-C013-44A5-8119-36B4ECF2F729}"/>
          </ac:spMkLst>
        </pc:spChg>
        <pc:spChg chg="mod ord">
          <ac:chgData name="Book, Leon (uic27710)" userId="3217206a-18cc-4c3c-b43c-c8f6da7a23e7" providerId="ADAL" clId="{931167F8-2036-4A7B-9F3E-DA79BA48A8DF}" dt="2022-02-22T09:25:20.566" v="2826" actId="700"/>
          <ac:spMkLst>
            <pc:docMk/>
            <pc:sldMk cId="761124455" sldId="363"/>
            <ac:spMk id="5" creationId="{7641CBA6-23B6-4EAA-AA1E-5524A9131CBD}"/>
          </ac:spMkLst>
        </pc:spChg>
        <pc:spChg chg="mod ord">
          <ac:chgData name="Book, Leon (uic27710)" userId="3217206a-18cc-4c3c-b43c-c8f6da7a23e7" providerId="ADAL" clId="{931167F8-2036-4A7B-9F3E-DA79BA48A8DF}" dt="2022-02-22T09:25:20.566" v="2826" actId="700"/>
          <ac:spMkLst>
            <pc:docMk/>
            <pc:sldMk cId="761124455" sldId="363"/>
            <ac:spMk id="6" creationId="{4CD4B017-B7A7-41D8-8A78-B605BDE6A5EF}"/>
          </ac:spMkLst>
        </pc:spChg>
        <pc:spChg chg="add mod ord">
          <ac:chgData name="Book, Leon (uic27710)" userId="3217206a-18cc-4c3c-b43c-c8f6da7a23e7" providerId="ADAL" clId="{931167F8-2036-4A7B-9F3E-DA79BA48A8DF}" dt="2022-02-22T09:26:03.296" v="2860" actId="947"/>
          <ac:spMkLst>
            <pc:docMk/>
            <pc:sldMk cId="761124455" sldId="363"/>
            <ac:spMk id="7" creationId="{C66E15A4-DB9A-4580-923A-A95090DFFD36}"/>
          </ac:spMkLst>
        </pc:spChg>
        <pc:spChg chg="add del mod ord">
          <ac:chgData name="Book, Leon (uic27710)" userId="3217206a-18cc-4c3c-b43c-c8f6da7a23e7" providerId="ADAL" clId="{931167F8-2036-4A7B-9F3E-DA79BA48A8DF}" dt="2022-02-22T09:25:50.433" v="2857" actId="478"/>
          <ac:spMkLst>
            <pc:docMk/>
            <pc:sldMk cId="761124455" sldId="363"/>
            <ac:spMk id="8" creationId="{1584122B-57BF-4F5E-8A07-29121EB9356F}"/>
          </ac:spMkLst>
        </pc:spChg>
      </pc:sldChg>
    </pc:docChg>
  </pc:docChgLst>
  <pc:docChgLst>
    <pc:chgData name="Ratayczak, Lion (uic27707)" userId="S::uic27707@contiwan.com::ae943a63-3223-4834-bd06-5f39c1f17dca" providerId="AD" clId="Web-{F0E6959B-941A-441F-BD4D-A21BB503F37B}"/>
    <pc:docChg chg="modSld">
      <pc:chgData name="Ratayczak, Lion (uic27707)" userId="S::uic27707@contiwan.com::ae943a63-3223-4834-bd06-5f39c1f17dca" providerId="AD" clId="Web-{F0E6959B-941A-441F-BD4D-A21BB503F37B}" dt="2022-02-23T08:49:39.274" v="1"/>
      <pc:docMkLst>
        <pc:docMk/>
      </pc:docMkLst>
      <pc:sldChg chg="delSp">
        <pc:chgData name="Ratayczak, Lion (uic27707)" userId="S::uic27707@contiwan.com::ae943a63-3223-4834-bd06-5f39c1f17dca" providerId="AD" clId="Web-{F0E6959B-941A-441F-BD4D-A21BB503F37B}" dt="2022-02-23T08:49:39.274" v="1"/>
        <pc:sldMkLst>
          <pc:docMk/>
          <pc:sldMk cId="465523889" sldId="356"/>
        </pc:sldMkLst>
        <pc:picChg chg="del">
          <ac:chgData name="Ratayczak, Lion (uic27707)" userId="S::uic27707@contiwan.com::ae943a63-3223-4834-bd06-5f39c1f17dca" providerId="AD" clId="Web-{F0E6959B-941A-441F-BD4D-A21BB503F37B}" dt="2022-02-23T08:49:39.274" v="1"/>
          <ac:picMkLst>
            <pc:docMk/>
            <pc:sldMk cId="465523889" sldId="356"/>
            <ac:picMk id="15" creationId="{B57BE832-4EAA-4A54-BEAC-DBE406FC7520}"/>
          </ac:picMkLst>
        </pc:picChg>
        <pc:picChg chg="del">
          <ac:chgData name="Ratayczak, Lion (uic27707)" userId="S::uic27707@contiwan.com::ae943a63-3223-4834-bd06-5f39c1f17dca" providerId="AD" clId="Web-{F0E6959B-941A-441F-BD4D-A21BB503F37B}" dt="2022-02-23T08:49:38.430" v="0"/>
          <ac:picMkLst>
            <pc:docMk/>
            <pc:sldMk cId="465523889" sldId="356"/>
            <ac:picMk id="17" creationId="{C663995D-6E7E-43CA-A6F1-9BA32A65EA2A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2/23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82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5311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err="1">
                <a:solidFill>
                  <a:schemeClr val="bg1"/>
                </a:solidFill>
              </a:rPr>
              <a:t>Bitt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decken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Sie</a:t>
            </a:r>
            <a:r>
              <a:rPr lang="en-US" sz="1600" baseline="0" noProof="0">
                <a:solidFill>
                  <a:schemeClr val="bg1"/>
                </a:solidFill>
              </a:rPr>
              <a:t> die </a:t>
            </a:r>
            <a:r>
              <a:rPr lang="en-US" sz="1600" baseline="0" noProof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Fläch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mit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einem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Bild</a:t>
            </a:r>
            <a:r>
              <a:rPr lang="en-US" sz="1600" baseline="0" noProof="0">
                <a:solidFill>
                  <a:schemeClr val="bg1"/>
                </a:solidFill>
              </a:rPr>
              <a:t> ab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Please cover</a:t>
            </a:r>
            <a:r>
              <a:rPr lang="en-US" sz="1600" baseline="0" noProof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(24,4 x 11,0 cm)</a:t>
            </a: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err="1"/>
              <a:t>Formatvorlage</a:t>
            </a:r>
            <a:r>
              <a:rPr lang="en-US" noProof="0"/>
              <a:t> des </a:t>
            </a:r>
            <a:r>
              <a:rPr lang="en-US" noProof="0" err="1"/>
              <a:t>Untertitelmasters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19" name="Rechteck 18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/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/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71F7769-1B51-45B5-A87B-BF7DD61C0AF7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8" name="MIO_LOGOPLACEHOLDER#Logo_4x3" hidden="1">
            <a:extLst>
              <a:ext uri="{FF2B5EF4-FFF2-40B4-BE49-F238E27FC236}">
                <a16:creationId xmlns:a16="http://schemas.microsoft.com/office/drawing/2014/main" id="{041661E0-832C-457F-8D2F-D8ED6EE72DC5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8A049FB6-41C3-44B0-ADA6-F6AF0163FB27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7" name="MIO_LOGOPLACEHOLDER#Logo_4x3" hidden="1">
            <a:extLst>
              <a:ext uri="{FF2B5EF4-FFF2-40B4-BE49-F238E27FC236}">
                <a16:creationId xmlns:a16="http://schemas.microsoft.com/office/drawing/2014/main" id="{4502F833-C705-4652-8F2E-658D795344E5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44FC33E-6D82-456E-B2B3-66C51DDFA17B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13" name="MIO_LOGOPLACEHOLDER#Logo_4x3" hidden="1">
            <a:extLst>
              <a:ext uri="{FF2B5EF4-FFF2-40B4-BE49-F238E27FC236}">
                <a16:creationId xmlns:a16="http://schemas.microsoft.com/office/drawing/2014/main" id="{1B5A6410-BF21-4FF5-9F79-5062AC52B696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F22FCC7-B5CA-45C6-9B4B-22C78A0E7F44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0" name="MIO_LOGOPLACEHOLDER#Logo_4x3" hidden="1">
            <a:extLst>
              <a:ext uri="{FF2B5EF4-FFF2-40B4-BE49-F238E27FC236}">
                <a16:creationId xmlns:a16="http://schemas.microsoft.com/office/drawing/2014/main" id="{3336F2C3-453D-4889-8D91-F43CA161A4D8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6B91BA5-A33B-4CBF-945A-2FC89D43B30B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10" name="MIO_LOGOPLACEHOLDER#Logo_4x3" hidden="1">
            <a:extLst>
              <a:ext uri="{FF2B5EF4-FFF2-40B4-BE49-F238E27FC236}">
                <a16:creationId xmlns:a16="http://schemas.microsoft.com/office/drawing/2014/main" id="{59BB18D9-57C3-4530-B6BF-C370B25EAF93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07EBAE3-5F00-40CB-A979-1EA36B61986B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8" name="MIO_LOGOPLACEHOLDER#Logo_4x3" hidden="1">
            <a:extLst>
              <a:ext uri="{FF2B5EF4-FFF2-40B4-BE49-F238E27FC236}">
                <a16:creationId xmlns:a16="http://schemas.microsoft.com/office/drawing/2014/main" id="{12E4964F-BDD1-45F1-9622-988EAABA1CE8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666F9D9-4188-43ED-AC6C-7B9E5DF01CDA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7D4382F-DE6C-4CD3-B947-C774A7B9B6F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</p:spTree>
  </p:cSld>
  <p:clrMapOvr>
    <a:masterClrMapping/>
  </p:clrMapOvr>
  <p:transition>
    <p:fade/>
  </p:transition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C33E4A-F528-4EE3-AFD0-83733661746B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7" name="MIO_LOGOPLACEHOLDER#Logo_4x3" hidden="1">
            <a:extLst>
              <a:ext uri="{FF2B5EF4-FFF2-40B4-BE49-F238E27FC236}">
                <a16:creationId xmlns:a16="http://schemas.microsoft.com/office/drawing/2014/main" id="{D2B938CE-C6E3-4FC4-9379-A2C1778B7449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7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" name="Rechteck 12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err="1"/>
              <a:t>Formatvorlage</a:t>
            </a:r>
            <a:r>
              <a:rPr lang="en-US" noProof="0"/>
              <a:t> des </a:t>
            </a:r>
            <a:r>
              <a:rPr lang="en-US" noProof="0" err="1"/>
              <a:t>Untertitelmasters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err="1">
                <a:solidFill>
                  <a:schemeClr val="bg1"/>
                </a:solidFill>
              </a:rPr>
              <a:t>Bitt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decken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Sie</a:t>
            </a:r>
            <a:r>
              <a:rPr lang="en-US" sz="1600" baseline="0" noProof="0">
                <a:solidFill>
                  <a:schemeClr val="bg1"/>
                </a:solidFill>
              </a:rPr>
              <a:t> die </a:t>
            </a:r>
            <a:r>
              <a:rPr lang="en-US" sz="1600" baseline="0" noProof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Fläch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mit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einem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Bild</a:t>
            </a:r>
            <a:r>
              <a:rPr lang="en-US" sz="1600" baseline="0" noProof="0">
                <a:solidFill>
                  <a:schemeClr val="bg1"/>
                </a:solidFill>
              </a:rPr>
              <a:t> ab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Please cover</a:t>
            </a:r>
            <a:r>
              <a:rPr lang="en-US" sz="1600" baseline="0" noProof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(24,4 x 18,0 cm)</a:t>
            </a: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err="1"/>
              <a:t>Formatvorlage</a:t>
            </a:r>
            <a:r>
              <a:rPr lang="en-US" noProof="0"/>
              <a:t> des </a:t>
            </a:r>
            <a:r>
              <a:rPr lang="en-US" noProof="0" err="1"/>
              <a:t>Untertitelmasters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s Quality Seal hat im Vordergrund zu stehen. 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19" name="Rechteck 18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/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/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4D3B1B4-E1C1-4C86-BEFA-9F7811059411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IO_LOGOPLACEHOLDER#Logo_4x3" hidden="1">
            <a:extLst>
              <a:ext uri="{FF2B5EF4-FFF2-40B4-BE49-F238E27FC236}">
                <a16:creationId xmlns:a16="http://schemas.microsoft.com/office/drawing/2014/main" id="{DB582431-E035-4BCB-AC45-A4AE1F193B10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CC65A66-32AF-4AF9-87F0-F2DF089E8137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7" name="MIO_LOGOPLACEHOLDER#Logo_4x3" hidden="1">
            <a:extLst>
              <a:ext uri="{FF2B5EF4-FFF2-40B4-BE49-F238E27FC236}">
                <a16:creationId xmlns:a16="http://schemas.microsoft.com/office/drawing/2014/main" id="{96C4BFCD-946F-49FE-BDB9-232B00E14C7C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BE43E-B79F-4843-97B1-61FAF6BAB166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4" name="MIO_LOGOPLACEHOLDER#Logo_4x3" hidden="1">
            <a:extLst>
              <a:ext uri="{FF2B5EF4-FFF2-40B4-BE49-F238E27FC236}">
                <a16:creationId xmlns:a16="http://schemas.microsoft.com/office/drawing/2014/main" id="{D20E7A04-748B-4965-A963-5EE39238E256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D4C1C8-51EB-4F6B-B84D-2E9DCB0BFEF0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7" name="MIO_LOGOPLACEHOLDER#Logo_4x3" hidden="1">
            <a:extLst>
              <a:ext uri="{FF2B5EF4-FFF2-40B4-BE49-F238E27FC236}">
                <a16:creationId xmlns:a16="http://schemas.microsoft.com/office/drawing/2014/main" id="{AC6F445F-6C5A-438C-B6AA-9B7A9E2FB569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C2E38EA-05FA-4644-B6B8-714A2B4601A5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7" name="MIO_LOGOPLACEHOLDER#Logo_4x3" hidden="1">
            <a:extLst>
              <a:ext uri="{FF2B5EF4-FFF2-40B4-BE49-F238E27FC236}">
                <a16:creationId xmlns:a16="http://schemas.microsoft.com/office/drawing/2014/main" id="{54D02142-B126-4893-8542-9A1197AE7C9A}"/>
              </a:ext>
            </a:extLst>
          </p:cNvPr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>
              <a:solidFill>
                <a:srgbClr val="00B0F0"/>
              </a:solidFill>
            </a:endParaRPr>
          </a:p>
        </p:txBody>
      </p:sp>
    </p:spTree>
  </p:cSld>
  <p:clrMapOvr>
    <a:masterClrMapping/>
  </p:clrMapOvr>
  <p:transition>
    <p:fade/>
  </p:transition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721D4E66-0B92-42A3-B897-C8802F0F4B60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Internal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.</a:t>
            </a:r>
          </a:p>
        </p:txBody>
      </p:sp>
      <p:sp>
        <p:nvSpPr>
          <p:cNvPr id="16" name="empower - DO NOT DELETE!!!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MSIPCMContentMarking" descr="{&quot;HashCode&quot;:442047029,&quot;Placement&quot;:&quot;Footer&quot;,&quot;Top&quot;:519.343,&quot;Left&quot;:333.295349,&quot;SlideWidth&quot;:720,&quot;SlideHeight&quot;:540}">
            <a:extLst>
              <a:ext uri="{FF2B5EF4-FFF2-40B4-BE49-F238E27FC236}">
                <a16:creationId xmlns:a16="http://schemas.microsoft.com/office/drawing/2014/main" id="{00200934-BDE6-4601-A501-F25D0BE3C33C}"/>
              </a:ext>
            </a:extLst>
          </p:cNvPr>
          <p:cNvSpPr txBox="1"/>
          <p:nvPr userDrawn="1"/>
        </p:nvSpPr>
        <p:spPr>
          <a:xfrm>
            <a:off x="4232851" y="6595656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leon.book@conti.de" TargetMode="External"/><Relationship Id="rId2" Type="http://schemas.openxmlformats.org/officeDocument/2006/relationships/hyperlink" Target="mailto:lion.ratayczak@conti.de" TargetMode="Externa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16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E18B03C5-3FD9-464E-8A98-0387DE793D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25"/>
          <a:stretch/>
        </p:blipFill>
        <p:spPr>
          <a:xfrm>
            <a:off x="172825" y="177777"/>
            <a:ext cx="8798350" cy="405044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Automatic tire inside sprayi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>
                <a:cs typeface="Arial"/>
              </a:rPr>
              <a:t>Mechanical integration of COBOT and tool</a:t>
            </a:r>
          </a:p>
          <a:p>
            <a:r>
              <a:rPr lang="en-US">
                <a:cs typeface="Arial"/>
              </a:rPr>
              <a:t>Software developmen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by Leon Book and Lion Ratayczak</a:t>
            </a:r>
          </a:p>
          <a:p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73CFA55E-C20D-4E7E-ACD4-C47CAA0D8C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76122" y="150842"/>
            <a:ext cx="1548065" cy="5827684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6B35B8C-87E5-45F0-97D2-50D9ECA35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cepting the detec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00B64A-4E50-4E6C-A683-E065778F4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B573F7-34B7-40BD-97AF-3917C9A13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9D495E1-092F-4F30-A028-C37503D484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E9A2E512-0C9C-4AA6-909C-2C37CD1305B8}"/>
              </a:ext>
            </a:extLst>
          </p:cNvPr>
          <p:cNvSpPr txBox="1">
            <a:spLocks/>
          </p:cNvSpPr>
          <p:nvPr/>
        </p:nvSpPr>
        <p:spPr>
          <a:xfrm>
            <a:off x="395288" y="13414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1F01B89C-BBEF-4FEE-91DE-CAC2A2D5F610}"/>
              </a:ext>
            </a:extLst>
          </p:cNvPr>
          <p:cNvSpPr/>
          <p:nvPr/>
        </p:nvSpPr>
        <p:spPr>
          <a:xfrm>
            <a:off x="7300637" y="2140239"/>
            <a:ext cx="1360811" cy="1136621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ln w="57150">
                <a:solidFill>
                  <a:schemeClr val="tx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C68EC18-F193-4DF1-A9C5-A891E58072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8951" y="2512451"/>
            <a:ext cx="4641170" cy="3466075"/>
          </a:xfrm>
          <a:prstGeom prst="rect">
            <a:avLst/>
          </a:prstGeom>
        </p:spPr>
      </p:pic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8F8E0EE7-2E74-4BFB-836F-51E784551647}"/>
              </a:ext>
            </a:extLst>
          </p:cNvPr>
          <p:cNvSpPr txBox="1">
            <a:spLocks/>
          </p:cNvSpPr>
          <p:nvPr/>
        </p:nvSpPr>
        <p:spPr>
          <a:xfrm>
            <a:off x="547689" y="1493837"/>
            <a:ext cx="6462712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User can accept the detection to go forward, exit the application or restart the detection</a:t>
            </a: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548F228A-3810-49CA-AA5E-23085AFB7B87}"/>
              </a:ext>
            </a:extLst>
          </p:cNvPr>
          <p:cNvCxnSpPr>
            <a:cxnSpLocks/>
          </p:cNvCxnSpPr>
          <p:nvPr/>
        </p:nvCxnSpPr>
        <p:spPr>
          <a:xfrm>
            <a:off x="3164114" y="1901371"/>
            <a:ext cx="2997200" cy="9434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717903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73CFA55E-C20D-4E7E-ACD4-C47CAA0D8C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76122" y="150842"/>
            <a:ext cx="1548065" cy="5827684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6B35B8C-87E5-45F0-97D2-50D9ECA35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lculating the heigh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00B64A-4E50-4E6C-A683-E065778F4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B573F7-34B7-40BD-97AF-3917C9A13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9D495E1-092F-4F30-A028-C37503D484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E9A2E512-0C9C-4AA6-909C-2C37CD1305B8}"/>
              </a:ext>
            </a:extLst>
          </p:cNvPr>
          <p:cNvSpPr txBox="1">
            <a:spLocks/>
          </p:cNvSpPr>
          <p:nvPr/>
        </p:nvSpPr>
        <p:spPr>
          <a:xfrm>
            <a:off x="395288" y="13414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2F9F0306-AF22-445D-8A0C-DBE2BABFE711}"/>
              </a:ext>
            </a:extLst>
          </p:cNvPr>
          <p:cNvSpPr/>
          <p:nvPr/>
        </p:nvSpPr>
        <p:spPr>
          <a:xfrm>
            <a:off x="7455407" y="3242268"/>
            <a:ext cx="1060019" cy="554894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ln w="57150">
                <a:solidFill>
                  <a:schemeClr val="tx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2F1082F5-3D60-4080-B0CA-2805281219FC}"/>
              </a:ext>
            </a:extLst>
          </p:cNvPr>
          <p:cNvSpPr txBox="1">
            <a:spLocks/>
          </p:cNvSpPr>
          <p:nvPr/>
        </p:nvSpPr>
        <p:spPr>
          <a:xfrm>
            <a:off x="547688" y="1493837"/>
            <a:ext cx="6495147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ym typeface="Wingdings" panose="05000000000000000000" pitchFamily="2" charset="2"/>
              </a:rPr>
              <a:t>The Picture of depth Cam can be interpreted as an array with a depth Value for each Pixel</a:t>
            </a:r>
          </a:p>
          <a:p>
            <a:r>
              <a:rPr lang="en-US">
                <a:sym typeface="Wingdings" panose="05000000000000000000" pitchFamily="2" charset="2"/>
              </a:rPr>
              <a:t>This creates a Point cloud as can be seen below</a:t>
            </a:r>
          </a:p>
          <a:p>
            <a:r>
              <a:rPr lang="en-US">
                <a:sym typeface="Wingdings" panose="05000000000000000000" pitchFamily="2" charset="2"/>
              </a:rPr>
              <a:t>To calculate the height of the Tire, we take the average height of all points in a region of interest</a:t>
            </a:r>
          </a:p>
          <a:p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F21C6F9-BF25-428A-85F0-EE57D8CA7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427" y="4013594"/>
            <a:ext cx="3271902" cy="186333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16A8208D-368D-43EF-974C-E30282E257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7615" y="4027714"/>
            <a:ext cx="3247620" cy="1849503"/>
          </a:xfrm>
          <a:prstGeom prst="rect">
            <a:avLst/>
          </a:prstGeom>
        </p:spPr>
      </p:pic>
      <p:sp>
        <p:nvSpPr>
          <p:cNvPr id="15" name="Ellipse 14">
            <a:extLst>
              <a:ext uri="{FF2B5EF4-FFF2-40B4-BE49-F238E27FC236}">
                <a16:creationId xmlns:a16="http://schemas.microsoft.com/office/drawing/2014/main" id="{B2DFC643-84C3-40C3-9E8C-666DE03D525B}"/>
              </a:ext>
            </a:extLst>
          </p:cNvPr>
          <p:cNvSpPr/>
          <p:nvPr/>
        </p:nvSpPr>
        <p:spPr>
          <a:xfrm>
            <a:off x="4925591" y="4480560"/>
            <a:ext cx="1243561" cy="695822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ln w="57150">
                <a:solidFill>
                  <a:schemeClr val="tx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C79AAA29-2723-40D9-A77F-B9082FC7C76B}"/>
              </a:ext>
            </a:extLst>
          </p:cNvPr>
          <p:cNvCxnSpPr>
            <a:cxnSpLocks/>
          </p:cNvCxnSpPr>
          <p:nvPr/>
        </p:nvCxnSpPr>
        <p:spPr>
          <a:xfrm>
            <a:off x="3474720" y="3064684"/>
            <a:ext cx="1574800" cy="13447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971436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73CFA55E-C20D-4E7E-ACD4-C47CAA0D8C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76122" y="150842"/>
            <a:ext cx="1548065" cy="5827684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6B35B8C-87E5-45F0-97D2-50D9ECA35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tecting the Barcod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00B64A-4E50-4E6C-A683-E065778F4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B573F7-34B7-40BD-97AF-3917C9A13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9D495E1-092F-4F30-A028-C37503D484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E9A2E512-0C9C-4AA6-909C-2C37CD1305B8}"/>
              </a:ext>
            </a:extLst>
          </p:cNvPr>
          <p:cNvSpPr txBox="1">
            <a:spLocks/>
          </p:cNvSpPr>
          <p:nvPr/>
        </p:nvSpPr>
        <p:spPr>
          <a:xfrm>
            <a:off x="395288" y="13414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2F9F0306-AF22-445D-8A0C-DBE2BABFE711}"/>
              </a:ext>
            </a:extLst>
          </p:cNvPr>
          <p:cNvSpPr/>
          <p:nvPr/>
        </p:nvSpPr>
        <p:spPr>
          <a:xfrm>
            <a:off x="7455408" y="3749710"/>
            <a:ext cx="1060019" cy="554894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ln w="57150">
                <a:solidFill>
                  <a:schemeClr val="tx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1526397-AAF1-4CA3-95BA-6D387E4D884F}"/>
              </a:ext>
            </a:extLst>
          </p:cNvPr>
          <p:cNvSpPr txBox="1"/>
          <p:nvPr/>
        </p:nvSpPr>
        <p:spPr>
          <a:xfrm>
            <a:off x="171430" y="2721707"/>
            <a:ext cx="24136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1) Get the normal cam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700D7D2-E95F-40BA-8D62-845C29D1BD58}"/>
              </a:ext>
            </a:extLst>
          </p:cNvPr>
          <p:cNvSpPr txBox="1"/>
          <p:nvPr/>
        </p:nvSpPr>
        <p:spPr>
          <a:xfrm>
            <a:off x="2497838" y="2725548"/>
            <a:ext cx="24136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2) Grayscale the pictur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1D6B0C9-95D1-4D10-85B5-B30AAB705021}"/>
              </a:ext>
            </a:extLst>
          </p:cNvPr>
          <p:cNvSpPr txBox="1"/>
          <p:nvPr/>
        </p:nvSpPr>
        <p:spPr>
          <a:xfrm>
            <a:off x="4817290" y="2739368"/>
            <a:ext cx="24136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3) Blur the picture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CA638AF-A917-4EC1-AA7C-4057FC3DCB8D}"/>
              </a:ext>
            </a:extLst>
          </p:cNvPr>
          <p:cNvSpPr txBox="1"/>
          <p:nvPr/>
        </p:nvSpPr>
        <p:spPr>
          <a:xfrm>
            <a:off x="170045" y="4843876"/>
            <a:ext cx="23277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4) Add Canny and Threshold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68B59EA-0D9B-48B3-83EA-5D73073F2569}"/>
              </a:ext>
            </a:extLst>
          </p:cNvPr>
          <p:cNvSpPr txBox="1"/>
          <p:nvPr/>
        </p:nvSpPr>
        <p:spPr>
          <a:xfrm>
            <a:off x="2473323" y="4863925"/>
            <a:ext cx="238914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5) OpenCV can detect the Barcode as the little white Square </a:t>
            </a:r>
          </a:p>
        </p:txBody>
      </p:sp>
      <p:pic>
        <p:nvPicPr>
          <p:cNvPr id="22" name="Grafik 21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FFAAB26F-A644-4099-9DE8-80AD984F54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655" y="1015999"/>
            <a:ext cx="2279399" cy="1709549"/>
          </a:xfrm>
          <a:prstGeom prst="rect">
            <a:avLst/>
          </a:prstGeom>
        </p:spPr>
      </p:pic>
      <p:pic>
        <p:nvPicPr>
          <p:cNvPr id="24" name="Grafik 23" descr="Ein Bild, das drinnen, schwarz, weiß enthält.&#10;&#10;Automatisch generierte Beschreibung">
            <a:extLst>
              <a:ext uri="{FF2B5EF4-FFF2-40B4-BE49-F238E27FC236}">
                <a16:creationId xmlns:a16="http://schemas.microsoft.com/office/drawing/2014/main" id="{BEA37A2F-8398-49CC-A408-76E24C50B3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3013" y="1015999"/>
            <a:ext cx="2274277" cy="1705708"/>
          </a:xfrm>
          <a:prstGeom prst="rect">
            <a:avLst/>
          </a:prstGeom>
        </p:spPr>
      </p:pic>
      <p:pic>
        <p:nvPicPr>
          <p:cNvPr id="26" name="Grafik 25" descr="Ein Bild, das drinnen, schwarz, weiß enthält.&#10;&#10;Automatisch generierte Beschreibung">
            <a:extLst>
              <a:ext uri="{FF2B5EF4-FFF2-40B4-BE49-F238E27FC236}">
                <a16:creationId xmlns:a16="http://schemas.microsoft.com/office/drawing/2014/main" id="{242465F1-8858-424E-A73B-4E397BA9CD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6220" y="1015999"/>
            <a:ext cx="2260972" cy="1695729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F0BB2F44-6078-4A4F-B6FC-6F7A1BB43A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655" y="3132094"/>
            <a:ext cx="2255644" cy="1691733"/>
          </a:xfrm>
          <a:prstGeom prst="rect">
            <a:avLst/>
          </a:prstGeom>
        </p:spPr>
      </p:pic>
      <p:pic>
        <p:nvPicPr>
          <p:cNvPr id="30" name="Grafik 29" descr="Ein Bild, das Text, drinnen enthält.&#10;&#10;Automatisch generierte Beschreibung">
            <a:extLst>
              <a:ext uri="{FF2B5EF4-FFF2-40B4-BE49-F238E27FC236}">
                <a16:creationId xmlns:a16="http://schemas.microsoft.com/office/drawing/2014/main" id="{FD988917-B235-4A6A-9808-CBACBE2D41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43013" y="3147839"/>
            <a:ext cx="2274277" cy="1705708"/>
          </a:xfrm>
          <a:prstGeom prst="rect">
            <a:avLst/>
          </a:prstGeom>
        </p:spPr>
      </p:pic>
      <p:pic>
        <p:nvPicPr>
          <p:cNvPr id="32" name="Grafik 31" descr="Ein Bild, das Text, drinnen enthält.&#10;&#10;Automatisch generierte Beschreibung">
            <a:extLst>
              <a:ext uri="{FF2B5EF4-FFF2-40B4-BE49-F238E27FC236}">
                <a16:creationId xmlns:a16="http://schemas.microsoft.com/office/drawing/2014/main" id="{FB9EA2B7-557A-45D0-8C27-6C75322F51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7640" y="3147839"/>
            <a:ext cx="2274277" cy="1705708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4447B44A-7479-4E3F-AA10-0A679C45D10A}"/>
              </a:ext>
            </a:extLst>
          </p:cNvPr>
          <p:cNvSpPr txBox="1"/>
          <p:nvPr/>
        </p:nvSpPr>
        <p:spPr>
          <a:xfrm>
            <a:off x="4907640" y="4894490"/>
            <a:ext cx="238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5) The barcode position is interpreted as an angle (</a:t>
            </a:r>
            <a:r>
              <a:rPr lang="el-GR" sz="1400" b="0" i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α</a:t>
            </a:r>
            <a:r>
              <a:rPr lang="de-DE" sz="1400" b="0" i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)</a:t>
            </a:r>
            <a:endParaRPr lang="en-US" sz="1400"/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F55331B8-8AFC-4F0E-BB1D-3557A3114356}"/>
              </a:ext>
            </a:extLst>
          </p:cNvPr>
          <p:cNvCxnSpPr/>
          <p:nvPr/>
        </p:nvCxnSpPr>
        <p:spPr>
          <a:xfrm flipV="1">
            <a:off x="6106160" y="3429000"/>
            <a:ext cx="0" cy="51562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F629996D-546E-41F7-AE00-9D528190A1D8}"/>
              </a:ext>
            </a:extLst>
          </p:cNvPr>
          <p:cNvCxnSpPr>
            <a:cxnSpLocks/>
          </p:cNvCxnSpPr>
          <p:nvPr/>
        </p:nvCxnSpPr>
        <p:spPr>
          <a:xfrm flipV="1">
            <a:off x="5745480" y="3967480"/>
            <a:ext cx="360680" cy="37338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Bogen 47">
            <a:extLst>
              <a:ext uri="{FF2B5EF4-FFF2-40B4-BE49-F238E27FC236}">
                <a16:creationId xmlns:a16="http://schemas.microsoft.com/office/drawing/2014/main" id="{B30BD0EF-5945-452F-B273-88E3F303434F}"/>
              </a:ext>
            </a:extLst>
          </p:cNvPr>
          <p:cNvSpPr/>
          <p:nvPr/>
        </p:nvSpPr>
        <p:spPr>
          <a:xfrm rot="14552023">
            <a:off x="5920551" y="3559445"/>
            <a:ext cx="693960" cy="816009"/>
          </a:xfrm>
          <a:prstGeom prst="arc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1900363A-B11A-4029-8B86-841B88B4D100}"/>
              </a:ext>
            </a:extLst>
          </p:cNvPr>
          <p:cNvSpPr txBox="1"/>
          <p:nvPr/>
        </p:nvSpPr>
        <p:spPr>
          <a:xfrm>
            <a:off x="5879893" y="3724748"/>
            <a:ext cx="1377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0" i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α</a:t>
            </a:r>
            <a:endParaRPr lang="en-US" sz="16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4891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73CFA55E-C20D-4E7E-ACD4-C47CAA0D8C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76122" y="150842"/>
            <a:ext cx="1548065" cy="5827684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6B35B8C-87E5-45F0-97D2-50D9ECA35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r acceptanc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00B64A-4E50-4E6C-A683-E065778F4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B573F7-34B7-40BD-97AF-3917C9A13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9D495E1-092F-4F30-A028-C37503D484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E9A2E512-0C9C-4AA6-909C-2C37CD1305B8}"/>
              </a:ext>
            </a:extLst>
          </p:cNvPr>
          <p:cNvSpPr txBox="1">
            <a:spLocks/>
          </p:cNvSpPr>
          <p:nvPr/>
        </p:nvSpPr>
        <p:spPr>
          <a:xfrm>
            <a:off x="395288" y="13414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2F9F0306-AF22-445D-8A0C-DBE2BABFE711}"/>
              </a:ext>
            </a:extLst>
          </p:cNvPr>
          <p:cNvSpPr/>
          <p:nvPr/>
        </p:nvSpPr>
        <p:spPr>
          <a:xfrm>
            <a:off x="7200647" y="4212492"/>
            <a:ext cx="1548065" cy="1070707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ln w="57150">
                <a:solidFill>
                  <a:schemeClr val="tx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F96A9F4-FABF-4249-AC97-3EC15DFBF0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4891" y="2493393"/>
            <a:ext cx="4634218" cy="3459731"/>
          </a:xfrm>
          <a:prstGeom prst="rect">
            <a:avLst/>
          </a:prstGeom>
        </p:spPr>
      </p:pic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230A8D20-026C-4553-BD2C-4E7FD29700EB}"/>
              </a:ext>
            </a:extLst>
          </p:cNvPr>
          <p:cNvSpPr txBox="1">
            <a:spLocks/>
          </p:cNvSpPr>
          <p:nvPr/>
        </p:nvSpPr>
        <p:spPr>
          <a:xfrm>
            <a:off x="547689" y="1493837"/>
            <a:ext cx="6462712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User can accept the detection to go forward, exit the application or restart the detection</a:t>
            </a: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E7377189-0663-4C2E-80A8-1F9D0E9B15EA}"/>
              </a:ext>
            </a:extLst>
          </p:cNvPr>
          <p:cNvCxnSpPr>
            <a:cxnSpLocks/>
          </p:cNvCxnSpPr>
          <p:nvPr/>
        </p:nvCxnSpPr>
        <p:spPr>
          <a:xfrm>
            <a:off x="3164114" y="1901371"/>
            <a:ext cx="2997200" cy="9434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319126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73CFA55E-C20D-4E7E-ACD4-C47CAA0D8C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76122" y="150842"/>
            <a:ext cx="1548065" cy="5827684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6B35B8C-87E5-45F0-97D2-50D9ECA35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ving the Robot and Spraying the Tir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00B64A-4E50-4E6C-A683-E065778F4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B573F7-34B7-40BD-97AF-3917C9A13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9D495E1-092F-4F30-A028-C37503D484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E9A2E512-0C9C-4AA6-909C-2C37CD1305B8}"/>
              </a:ext>
            </a:extLst>
          </p:cNvPr>
          <p:cNvSpPr txBox="1">
            <a:spLocks/>
          </p:cNvSpPr>
          <p:nvPr/>
        </p:nvSpPr>
        <p:spPr>
          <a:xfrm>
            <a:off x="395288" y="13414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2F9F0306-AF22-445D-8A0C-DBE2BABFE711}"/>
              </a:ext>
            </a:extLst>
          </p:cNvPr>
          <p:cNvSpPr/>
          <p:nvPr/>
        </p:nvSpPr>
        <p:spPr>
          <a:xfrm>
            <a:off x="7416796" y="5239823"/>
            <a:ext cx="1151772" cy="656249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ln w="57150">
                <a:solidFill>
                  <a:schemeClr val="tx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E9C09BD4-0FAF-4BE3-8FCE-8EF9845D0215}"/>
              </a:ext>
            </a:extLst>
          </p:cNvPr>
          <p:cNvSpPr txBox="1">
            <a:spLocks/>
          </p:cNvSpPr>
          <p:nvPr/>
        </p:nvSpPr>
        <p:spPr>
          <a:xfrm>
            <a:off x="547688" y="1493837"/>
            <a:ext cx="6495147" cy="4535487"/>
          </a:xfrm>
          <a:prstGeom prst="rect">
            <a:avLst/>
          </a:prstGeom>
        </p:spPr>
        <p:txBody>
          <a:bodyPr vert="horz" lIns="0" tIns="18000" rIns="0" bIns="18000" rtlCol="0" anchor="t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cs typeface="Arial"/>
                <a:sym typeface="Wingdings" panose="05000000000000000000" pitchFamily="2" charset="2"/>
              </a:rPr>
              <a:t>To move the </a:t>
            </a:r>
            <a:r>
              <a:rPr lang="en-US" err="1">
                <a:cs typeface="Arial"/>
                <a:sym typeface="Wingdings" panose="05000000000000000000" pitchFamily="2" charset="2"/>
              </a:rPr>
              <a:t>Cobot</a:t>
            </a:r>
            <a:r>
              <a:rPr lang="en-US">
                <a:cs typeface="Arial"/>
                <a:sym typeface="Wingdings" panose="05000000000000000000" pitchFamily="2" charset="2"/>
              </a:rPr>
              <a:t>, all points in pixels need to be converted into points in the room</a:t>
            </a:r>
          </a:p>
          <a:p>
            <a:pPr marL="541020" lvl="1"/>
            <a:r>
              <a:rPr lang="en-US">
                <a:cs typeface="Arial"/>
              </a:rPr>
              <a:t>A </a:t>
            </a:r>
            <a:r>
              <a:rPr lang="en-US" err="1">
                <a:cs typeface="Arial"/>
              </a:rPr>
              <a:t>algorythm</a:t>
            </a:r>
            <a:r>
              <a:rPr lang="en-US">
                <a:cs typeface="Arial"/>
              </a:rPr>
              <a:t> from the pyrealsense2 library is used</a:t>
            </a:r>
          </a:p>
          <a:p>
            <a:r>
              <a:rPr lang="en-US">
                <a:cs typeface="Arial"/>
                <a:sym typeface="Wingdings" panose="05000000000000000000" pitchFamily="2" charset="2"/>
              </a:rPr>
              <a:t>These Points are in the coordinate system of the camera and are converted into coordinates of the </a:t>
            </a:r>
            <a:r>
              <a:rPr lang="en-US" err="1">
                <a:cs typeface="Arial"/>
                <a:sym typeface="Wingdings" panose="05000000000000000000" pitchFamily="2" charset="2"/>
              </a:rPr>
              <a:t>Cobot</a:t>
            </a:r>
            <a:r>
              <a:rPr lang="en-US">
                <a:cs typeface="Arial"/>
                <a:sym typeface="Wingdings" panose="05000000000000000000" pitchFamily="2" charset="2"/>
              </a:rPr>
              <a:t> coordinate system</a:t>
            </a:r>
            <a:endParaRPr lang="en-US">
              <a:cs typeface="Arial"/>
            </a:endParaRPr>
          </a:p>
          <a:p>
            <a:pPr marL="541020" lvl="1"/>
            <a:r>
              <a:rPr lang="en-US">
                <a:cs typeface="Arial"/>
              </a:rPr>
              <a:t>Coordinate transformation</a:t>
            </a:r>
          </a:p>
          <a:p>
            <a:r>
              <a:rPr lang="en-US">
                <a:cs typeface="Arial"/>
                <a:sym typeface="Wingdings" panose="05000000000000000000" pitchFamily="2" charset="2"/>
              </a:rPr>
              <a:t>The position of the detected barcode limits the spraying area</a:t>
            </a:r>
            <a:endParaRPr lang="en-US">
              <a:cs typeface="Arial"/>
            </a:endParaRPr>
          </a:p>
          <a:p>
            <a:r>
              <a:rPr lang="en-US">
                <a:cs typeface="Arial"/>
                <a:sym typeface="Wingdings" panose="05000000000000000000" pitchFamily="2" charset="2"/>
              </a:rPr>
              <a:t>After this calculations, the </a:t>
            </a:r>
            <a:r>
              <a:rPr lang="en-US" err="1">
                <a:cs typeface="Arial"/>
                <a:sym typeface="Wingdings" panose="05000000000000000000" pitchFamily="2" charset="2"/>
              </a:rPr>
              <a:t>Cobot</a:t>
            </a:r>
            <a:r>
              <a:rPr lang="en-US">
                <a:cs typeface="Arial"/>
                <a:sym typeface="Wingdings" panose="05000000000000000000" pitchFamily="2" charset="2"/>
              </a:rPr>
              <a:t> starts the automated spraying</a:t>
            </a:r>
            <a:endParaRPr lang="en-US">
              <a:cs typeface="Arial"/>
            </a:endParaRPr>
          </a:p>
          <a:p>
            <a:endParaRPr lang="en-US">
              <a:sym typeface="Wingdings" panose="05000000000000000000" pitchFamily="2" charset="2"/>
            </a:endParaRPr>
          </a:p>
          <a:p>
            <a:pPr marL="541020" lvl="1"/>
            <a:endParaRPr lang="en-US"/>
          </a:p>
          <a:p>
            <a:pPr marL="541020"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708432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66E15A4-DB9A-4580-923A-A95090DFF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/>
              <a:t>Time for a live Demo!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CE488DB-C013-44A5-8119-36B4ECF2F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641CBA6-23B6-4EAA-AA1E-5524A9131C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CD4B017-B7A7-41D8-8A78-B605BDE6A5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76112445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7FFBA398-61FE-4B3F-AFA9-62734588D7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4738914"/>
            <a:ext cx="8353425" cy="1138011"/>
          </a:xfrm>
        </p:spPr>
        <p:txBody>
          <a:bodyPr/>
          <a:lstStyle/>
          <a:p>
            <a:r>
              <a:rPr lang="en-US" sz="1400"/>
              <a:t>Contact:</a:t>
            </a:r>
          </a:p>
          <a:p>
            <a:r>
              <a:rPr lang="en-US" sz="1400">
                <a:hlinkClick r:id="rId2"/>
              </a:rPr>
              <a:t>lion.ratayczak@conti.de</a:t>
            </a:r>
            <a:endParaRPr lang="en-US" sz="1400"/>
          </a:p>
          <a:p>
            <a:r>
              <a:rPr lang="en-US" sz="1400">
                <a:hlinkClick r:id="rId3"/>
              </a:rPr>
              <a:t>leon.book@conti.de</a:t>
            </a:r>
            <a:endParaRPr lang="en-US" sz="1400"/>
          </a:p>
          <a:p>
            <a:endParaRPr lang="en-US"/>
          </a:p>
          <a:p>
            <a:endParaRPr lang="en-US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0A0157-183F-4608-A541-061B7C93E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 for your attention!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65D144C-9B21-465D-87D5-0A89CF08F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970F8A1-6B03-40DD-9D0D-6404C2ABB6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47EC5B0-B66E-4D35-8186-4F018EC0B4E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13562285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 vert="horz" lIns="0" tIns="18000" rIns="0" bIns="18000" rtlCol="0" anchor="t">
            <a:normAutofit lnSpcReduction="10000"/>
          </a:bodyPr>
          <a:lstStyle/>
          <a:p>
            <a:r>
              <a:rPr lang="en-US">
                <a:cs typeface="Arial"/>
              </a:rPr>
              <a:t>get pressed into the mold by rubber bellows</a:t>
            </a:r>
          </a:p>
          <a:p>
            <a:r>
              <a:rPr lang="en-US">
                <a:cs typeface="Arial"/>
              </a:rPr>
              <a:t>to prevent a lasting connection between rubber</a:t>
            </a:r>
            <a:br>
              <a:rPr lang="en-US">
                <a:cs typeface="Arial"/>
              </a:rPr>
            </a:br>
            <a:r>
              <a:rPr lang="en-US">
                <a:cs typeface="Arial"/>
              </a:rPr>
              <a:t>and bellows</a:t>
            </a:r>
          </a:p>
          <a:p>
            <a:pPr marL="0" indent="0">
              <a:buNone/>
            </a:pPr>
            <a:r>
              <a:rPr lang="en-US">
                <a:cs typeface="Arial"/>
                <a:sym typeface="Wingdings" panose="05000000000000000000" pitchFamily="2" charset="2"/>
              </a:rPr>
              <a:t>   </a:t>
            </a:r>
            <a:r>
              <a:rPr lang="en-US" b="1">
                <a:cs typeface="Arial"/>
                <a:sym typeface="Wingdings" panose="05000000000000000000" pitchFamily="2" charset="2"/>
              </a:rPr>
              <a:t>Spraying with separative fluid </a:t>
            </a:r>
            <a:endParaRPr lang="en-US" b="1"/>
          </a:p>
          <a:p>
            <a:r>
              <a:rPr lang="en-US">
                <a:cs typeface="Arial"/>
                <a:sym typeface="Wingdings" panose="05000000000000000000" pitchFamily="2" charset="2"/>
              </a:rPr>
              <a:t>currently tire blanks are sprayed:</a:t>
            </a:r>
            <a:endParaRPr lang="en-US">
              <a:cs typeface="Arial"/>
            </a:endParaRPr>
          </a:p>
          <a:p>
            <a:pPr marL="541020" lvl="1"/>
            <a:r>
              <a:rPr lang="en-US">
                <a:cs typeface="Arial"/>
                <a:sym typeface="Wingdings" panose="05000000000000000000" pitchFamily="2" charset="2"/>
              </a:rPr>
              <a:t>in automated systems e.g., with robots, </a:t>
            </a:r>
            <a:br>
              <a:rPr lang="en-US">
                <a:cs typeface="Arial"/>
                <a:sym typeface="Wingdings" panose="05000000000000000000" pitchFamily="2" charset="2"/>
              </a:rPr>
            </a:br>
            <a:r>
              <a:rPr lang="en-US">
                <a:cs typeface="Arial"/>
                <a:sym typeface="Wingdings" panose="05000000000000000000" pitchFamily="2" charset="2"/>
              </a:rPr>
              <a:t>which grab, center and relatively rotate the tire </a:t>
            </a:r>
            <a:br>
              <a:rPr lang="en-US">
                <a:cs typeface="Arial"/>
                <a:sym typeface="Wingdings" panose="05000000000000000000" pitchFamily="2" charset="2"/>
              </a:rPr>
            </a:br>
            <a:r>
              <a:rPr lang="en-US">
                <a:cs typeface="Arial"/>
                <a:sym typeface="Wingdings" panose="05000000000000000000" pitchFamily="2" charset="2"/>
              </a:rPr>
              <a:t>around the spraying tool</a:t>
            </a:r>
            <a:endParaRPr lang="en-US">
              <a:cs typeface="Arial"/>
            </a:endParaRPr>
          </a:p>
          <a:p>
            <a:pPr marL="541020" lvl="1"/>
            <a:r>
              <a:rPr lang="en-US">
                <a:cs typeface="Arial"/>
                <a:sym typeface="Wingdings" panose="05000000000000000000" pitchFamily="2" charset="2"/>
              </a:rPr>
              <a:t>by hand, to balance peeks or system failures</a:t>
            </a:r>
            <a:endParaRPr lang="en-US">
              <a:cs typeface="Arial"/>
            </a:endParaRPr>
          </a:p>
          <a:p>
            <a:r>
              <a:rPr lang="en-US">
                <a:cs typeface="Arial"/>
                <a:sym typeface="Wingdings" panose="05000000000000000000" pitchFamily="2" charset="2"/>
              </a:rPr>
              <a:t>the </a:t>
            </a:r>
            <a:r>
              <a:rPr lang="en-US" b="1">
                <a:cs typeface="Arial"/>
                <a:sym typeface="Wingdings" panose="05000000000000000000" pitchFamily="2" charset="2"/>
              </a:rPr>
              <a:t>manual work </a:t>
            </a:r>
            <a:r>
              <a:rPr lang="en-US">
                <a:cs typeface="Arial"/>
                <a:sym typeface="Wingdings" panose="05000000000000000000" pitchFamily="2" charset="2"/>
              </a:rPr>
              <a:t>is supposed to be </a:t>
            </a:r>
            <a:r>
              <a:rPr lang="en-US" b="1">
                <a:cs typeface="Arial"/>
                <a:sym typeface="Wingdings" panose="05000000000000000000" pitchFamily="2" charset="2"/>
              </a:rPr>
              <a:t>automated</a:t>
            </a:r>
            <a:endParaRPr lang="en-US" b="1">
              <a:cs typeface="Arial"/>
            </a:endParaRPr>
          </a:p>
          <a:p>
            <a:pPr marL="541020" lvl="1"/>
            <a:r>
              <a:rPr lang="en-US">
                <a:cs typeface="Arial"/>
                <a:sym typeface="Wingdings" panose="05000000000000000000" pitchFamily="2" charset="2"/>
              </a:rPr>
              <a:t>robot which carries the spraying tool</a:t>
            </a:r>
            <a:endParaRPr lang="en-US">
              <a:cs typeface="Arial"/>
            </a:endParaRPr>
          </a:p>
          <a:p>
            <a:pPr marL="541020" lvl="1"/>
            <a:r>
              <a:rPr lang="en-US">
                <a:cs typeface="Arial"/>
                <a:sym typeface="Wingdings" panose="05000000000000000000" pitchFamily="2" charset="2"/>
              </a:rPr>
              <a:t>automatic detection of the tire </a:t>
            </a:r>
          </a:p>
          <a:p>
            <a:pPr marL="541020" lvl="1"/>
            <a:r>
              <a:rPr lang="en-US">
                <a:cs typeface="Arial"/>
              </a:rPr>
              <a:t>automatic spraying of a defined area </a:t>
            </a:r>
            <a:endParaRPr lang="en-US"/>
          </a:p>
          <a:p>
            <a:pPr marL="541020" lvl="1"/>
            <a:endParaRPr lang="en-US"/>
          </a:p>
          <a:p>
            <a:endParaRPr lang="en-US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scrip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611CB24-687E-4B6F-9133-DA1C9B5F6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pic>
        <p:nvPicPr>
          <p:cNvPr id="8" name="Grafik 7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BF92CE06-8AEF-4015-B99D-AD20A0AB22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531" r="8093"/>
          <a:stretch/>
        </p:blipFill>
        <p:spPr>
          <a:xfrm>
            <a:off x="5654187" y="1565024"/>
            <a:ext cx="3094525" cy="3541012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BB86BEE-CDB1-45E4-B26B-9FC27652F6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/>
          <a:p>
            <a:r>
              <a:rPr lang="en-US"/>
              <a:t>given frame to work with</a:t>
            </a:r>
          </a:p>
          <a:p>
            <a:r>
              <a:rPr lang="en-US"/>
              <a:t>pendent </a:t>
            </a:r>
            <a:r>
              <a:rPr lang="en-US" err="1"/>
              <a:t>COBOT</a:t>
            </a:r>
            <a:r>
              <a:rPr lang="en-US"/>
              <a:t> for maximal workspace</a:t>
            </a:r>
          </a:p>
          <a:p>
            <a:r>
              <a:rPr lang="en-US"/>
              <a:t>needed to engineer a mounting bracket</a:t>
            </a:r>
          </a:p>
          <a:p>
            <a:pPr marL="541020" lvl="1"/>
            <a:r>
              <a:rPr lang="en-US"/>
              <a:t>two sliding bars for variable position</a:t>
            </a:r>
          </a:p>
          <a:p>
            <a:pPr marL="541020" lvl="1"/>
            <a:r>
              <a:rPr lang="en-US"/>
              <a:t>mounted on a metal board</a:t>
            </a:r>
          </a:p>
          <a:p>
            <a:pPr marL="541020" lvl="1"/>
            <a:r>
              <a:rPr lang="en-US"/>
              <a:t>underneath two </a:t>
            </a:r>
            <a:r>
              <a:rPr lang="en-US" err="1"/>
              <a:t>MonTec</a:t>
            </a:r>
            <a:r>
              <a:rPr lang="en-US"/>
              <a:t> Bars on frame</a:t>
            </a:r>
          </a:p>
          <a:p>
            <a:r>
              <a:rPr lang="en-US"/>
              <a:t>Valuation of screw size and strength by static computing</a:t>
            </a:r>
          </a:p>
          <a:p>
            <a:pPr marL="0" indent="0">
              <a:buNone/>
            </a:pPr>
            <a:endParaRPr lang="en-US"/>
          </a:p>
          <a:p>
            <a:endParaRPr lang="en-US"/>
          </a:p>
          <a:p>
            <a:pPr marL="0" indent="0">
              <a:buNone/>
            </a:pPr>
            <a:endParaRPr lang="en-US"/>
          </a:p>
          <a:p>
            <a:pPr marL="541020" lvl="1"/>
            <a:endParaRPr lang="en-US"/>
          </a:p>
          <a:p>
            <a:pPr marL="541020" lvl="1"/>
            <a:endParaRPr lang="en-US"/>
          </a:p>
        </p:txBody>
      </p:sp>
      <p:pic>
        <p:nvPicPr>
          <p:cNvPr id="8" name="Inhaltsplatzhalter 7" descr="Ein Bild, das drinnen, Fenster enthält.&#10;&#10;Automatisch generierte Beschreibung">
            <a:extLst>
              <a:ext uri="{FF2B5EF4-FFF2-40B4-BE49-F238E27FC236}">
                <a16:creationId xmlns:a16="http://schemas.microsoft.com/office/drawing/2014/main" id="{A3A77405-5B8F-4C06-8716-0E1BE96E575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30352" r="12538"/>
          <a:stretch/>
        </p:blipFill>
        <p:spPr>
          <a:xfrm rot="5400000">
            <a:off x="3342278" y="4068384"/>
            <a:ext cx="1572221" cy="2064722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676A0EBB-9B3E-4EDF-BD34-CAB9B435E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 anchor="t">
            <a:normAutofit/>
          </a:bodyPr>
          <a:lstStyle/>
          <a:p>
            <a:r>
              <a:rPr lang="en-US"/>
              <a:t>Mechanical Integration of </a:t>
            </a:r>
            <a:r>
              <a:rPr lang="en-US" err="1"/>
              <a:t>COBOT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A0DDBFA-BC56-4D65-A547-36BF348C02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fld id="{2DD6546B-1CDA-41FE-AD38-E585592752ED}" type="datetime1">
              <a:rPr lang="en-US" smtClean="0"/>
              <a:pPr>
                <a:spcAft>
                  <a:spcPts val="600"/>
                </a:spcAft>
              </a:pPr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6239D2-17D1-4F73-94E1-3B9EB156A3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6375515"/>
            <a:ext cx="360289" cy="15044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3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44C012F-54BC-4C79-830F-17AED18AFDF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Leon Book and Lion Ratayczak  © Continental AG</a:t>
            </a:r>
          </a:p>
        </p:txBody>
      </p:sp>
      <p:pic>
        <p:nvPicPr>
          <p:cNvPr id="10" name="Grafik 9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5B174756-A663-462C-9AB1-DA7ADA0F8B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5316505" y="1095276"/>
            <a:ext cx="3510764" cy="2633073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F1FEB07-B023-4774-AD5E-999A008E78F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204" r="30185"/>
          <a:stretch/>
        </p:blipFill>
        <p:spPr>
          <a:xfrm rot="5400000">
            <a:off x="6221282" y="3814870"/>
            <a:ext cx="1701209" cy="257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84138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B09A3DC-59E1-4570-ADA7-2B94F4E2C5D8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95287" y="1375567"/>
            <a:ext cx="8353425" cy="4535487"/>
          </a:xfrm>
        </p:spPr>
        <p:txBody>
          <a:bodyPr vert="horz" lIns="0" tIns="18000" rIns="0" bIns="18000" rtlCol="0" anchor="t">
            <a:normAutofit/>
          </a:bodyPr>
          <a:lstStyle>
            <a:lvl1pPr marL="177800" indent="-177800" algn="l" defTabSz="9144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1pPr>
            <a:lvl2pPr marL="541338" indent="-184150" algn="l" defTabSz="9144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2pPr>
            <a:lvl3pPr marL="896938" indent="-177800" algn="l" defTabSz="9144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3pPr>
            <a:lvl4pPr marL="1254125" indent="-179388" algn="l" defTabSz="9144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4pPr>
            <a:lvl5pPr marL="1616075" indent="-177800" algn="l" defTabSz="9144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5pPr>
            <a:lvl6pPr marL="2514600" indent="-228600" algn="l" defTabSz="914400" rtl="0" eaLnBrk="1" latinLnBrk="0" hangingPunct="1">
              <a:buFont typeface="Arial" pitchFamily="34" charset="0"/>
              <a:buChar char="•"/>
            </a:lvl6pPr>
            <a:lvl7pPr marL="2971800" indent="-228600" algn="l" defTabSz="914400" rtl="0" eaLnBrk="1" latinLnBrk="0" hangingPunct="1">
              <a:buFont typeface="Arial" pitchFamily="34" charset="0"/>
              <a:buChar char="•"/>
            </a:lvl7pPr>
            <a:lvl8pPr marL="3429000" indent="-228600" algn="l" defTabSz="914400" rtl="0" eaLnBrk="1" latinLnBrk="0" hangingPunct="1">
              <a:buFont typeface="Arial" pitchFamily="34" charset="0"/>
              <a:buChar char="•"/>
            </a:lvl8pPr>
            <a:lvl9pPr marL="3886200" indent="-228600" algn="l" defTabSz="914400" rtl="0" eaLnBrk="1" latinLnBrk="0" hangingPunct="1">
              <a:buFont typeface="Arial" pitchFamily="34" charset="0"/>
              <a:buChar char="•"/>
            </a:lvl9pPr>
          </a:lstStyle>
          <a:p>
            <a:r>
              <a:rPr lang="en-US">
                <a:cs typeface="Arial"/>
              </a:rPr>
              <a:t>given spraying tool and spraying system</a:t>
            </a:r>
            <a:endParaRPr lang="de-DE"/>
          </a:p>
          <a:p>
            <a:r>
              <a:rPr lang="en-US">
                <a:cs typeface="Arial"/>
              </a:rPr>
              <a:t>mounting plate from former project</a:t>
            </a:r>
            <a:endParaRPr lang="en-US"/>
          </a:p>
          <a:p>
            <a:r>
              <a:rPr lang="en-US" err="1">
                <a:cs typeface="Arial"/>
              </a:rPr>
              <a:t>COBOT</a:t>
            </a:r>
            <a:r>
              <a:rPr lang="en-US">
                <a:cs typeface="Arial"/>
              </a:rPr>
              <a:t> rotates the tool with the last joint</a:t>
            </a:r>
          </a:p>
          <a:p>
            <a:r>
              <a:rPr lang="en-US">
                <a:cs typeface="Arial"/>
              </a:rPr>
              <a:t>compensation of offset to arrange centric</a:t>
            </a:r>
            <a:endParaRPr lang="en-US"/>
          </a:p>
          <a:p>
            <a:endParaRPr lang="en-US"/>
          </a:p>
          <a:p>
            <a:pPr marL="0" indent="0">
              <a:buNone/>
            </a:pPr>
            <a:endParaRPr lang="en-US"/>
          </a:p>
          <a:p>
            <a:endParaRPr lang="en-US"/>
          </a:p>
          <a:p>
            <a:pPr marL="541020" lvl="1"/>
            <a:endParaRPr lang="en-US"/>
          </a:p>
          <a:p>
            <a:pPr marL="541020" lvl="1"/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4CB27D9-9C08-486E-8354-572359EA63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Spraying tool 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E9EE0A8-D8C8-4CA7-A8D3-C297FD7CE5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0B3C72-BA7F-42A4-B830-050BB7AA12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727D09-E4A4-4650-9905-6409D270DCD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pic>
        <p:nvPicPr>
          <p:cNvPr id="12" name="Grafik 11" descr="Ein Bild, das drinnen, Metall enthält.&#10;&#10;Automatisch generierte Beschreibung">
            <a:extLst>
              <a:ext uri="{FF2B5EF4-FFF2-40B4-BE49-F238E27FC236}">
                <a16:creationId xmlns:a16="http://schemas.microsoft.com/office/drawing/2014/main" id="{F1BD3E56-AE17-44B5-B42F-F1AB72B6D0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27" r="21395" b="15423"/>
          <a:stretch/>
        </p:blipFill>
        <p:spPr>
          <a:xfrm rot="5400000">
            <a:off x="5126784" y="3400171"/>
            <a:ext cx="2555783" cy="2022787"/>
          </a:xfrm>
          <a:prstGeom prst="rect">
            <a:avLst/>
          </a:prstGeom>
        </p:spPr>
      </p:pic>
      <p:pic>
        <p:nvPicPr>
          <p:cNvPr id="8" name="Grafik 7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E1FF9225-19B4-4E9C-B16B-A4220228EBE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0587"/>
          <a:stretch/>
        </p:blipFill>
        <p:spPr>
          <a:xfrm rot="5400000">
            <a:off x="1735411" y="3291777"/>
            <a:ext cx="2391677" cy="2258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52388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00A7B3C-7B8F-4137-8BB7-C51B7DE0D8EA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/>
        <p:txBody>
          <a:bodyPr/>
          <a:lstStyle>
            <a:lvl1pPr marL="177800" indent="-177800" algn="l" defTabSz="9144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1pPr>
            <a:lvl2pPr marL="541338" indent="-184150" algn="l" defTabSz="9144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2pPr>
            <a:lvl3pPr marL="896938" indent="-177800" algn="l" defTabSz="9144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3pPr>
            <a:lvl4pPr marL="1254125" indent="-179388" algn="l" defTabSz="9144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4pPr>
            <a:lvl5pPr marL="1616075" indent="-177800" algn="l" defTabSz="914400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5pPr>
            <a:lvl6pPr marL="2514600" indent="-228600" algn="l" defTabSz="914400" rtl="0" eaLnBrk="1" latinLnBrk="0" hangingPunct="1">
              <a:buFont typeface="Arial" pitchFamily="34" charset="0"/>
              <a:buChar char="•"/>
            </a:lvl6pPr>
            <a:lvl7pPr marL="2971800" indent="-228600" algn="l" defTabSz="914400" rtl="0" eaLnBrk="1" latinLnBrk="0" hangingPunct="1">
              <a:buFont typeface="Arial" pitchFamily="34" charset="0"/>
              <a:buChar char="•"/>
            </a:lvl7pPr>
            <a:lvl8pPr marL="3429000" indent="-228600" algn="l" defTabSz="914400" rtl="0" eaLnBrk="1" latinLnBrk="0" hangingPunct="1">
              <a:buFont typeface="Arial" pitchFamily="34" charset="0"/>
              <a:buChar char="•"/>
            </a:lvl8pPr>
            <a:lvl9pPr marL="3886200" indent="-228600" algn="l" defTabSz="914400" rtl="0" eaLnBrk="1" latinLnBrk="0" hangingPunct="1">
              <a:buFont typeface="Arial" pitchFamily="34" charset="0"/>
              <a:buChar char="•"/>
            </a:lvl9pPr>
          </a:lstStyle>
          <a:p>
            <a:pPr marL="0" indent="0">
              <a:buNone/>
            </a:pPr>
            <a:r>
              <a:rPr lang="en-US" u="sng" err="1"/>
              <a:t>COBOT</a:t>
            </a:r>
            <a:r>
              <a:rPr lang="en-US" u="sng"/>
              <a:t> integration:</a:t>
            </a:r>
          </a:p>
          <a:p>
            <a:r>
              <a:rPr lang="en-US"/>
              <a:t>For faster movements of the </a:t>
            </a:r>
            <a:r>
              <a:rPr lang="en-US" err="1"/>
              <a:t>COBOT</a:t>
            </a:r>
            <a:r>
              <a:rPr lang="en-US"/>
              <a:t>, the frame needs to be more stable.</a:t>
            </a:r>
          </a:p>
          <a:p>
            <a:r>
              <a:rPr lang="en-US" err="1"/>
              <a:t>COBOT</a:t>
            </a:r>
            <a:r>
              <a:rPr lang="en-US"/>
              <a:t> drive could be integrated into frame.</a:t>
            </a:r>
          </a:p>
          <a:p>
            <a:endParaRPr lang="en-US"/>
          </a:p>
          <a:p>
            <a:endParaRPr lang="en-US"/>
          </a:p>
          <a:p>
            <a:pPr marL="0" indent="0">
              <a:buNone/>
            </a:pPr>
            <a:r>
              <a:rPr lang="en-US" u="sng"/>
              <a:t>Spraying tool:</a:t>
            </a:r>
          </a:p>
          <a:p>
            <a:r>
              <a:rPr lang="en-US">
                <a:cs typeface="Arial"/>
                <a:sym typeface="Wingdings" panose="05000000000000000000" pitchFamily="2" charset="2"/>
              </a:rPr>
              <a:t>Solution for wires and hoses, which need flexible </a:t>
            </a:r>
            <a:br>
              <a:rPr lang="en-US">
                <a:cs typeface="Arial"/>
                <a:sym typeface="Wingdings" panose="05000000000000000000" pitchFamily="2" charset="2"/>
              </a:rPr>
            </a:br>
            <a:r>
              <a:rPr lang="en-US">
                <a:cs typeface="Arial"/>
                <a:sym typeface="Wingdings" panose="05000000000000000000" pitchFamily="2" charset="2"/>
              </a:rPr>
              <a:t>length to adjust the way of the rotation</a:t>
            </a:r>
          </a:p>
          <a:p>
            <a:r>
              <a:rPr lang="en-US">
                <a:cs typeface="Arial"/>
                <a:sym typeface="Wingdings" panose="05000000000000000000" pitchFamily="2" charset="2"/>
              </a:rPr>
              <a:t>Mounting of the tool could be simplified</a:t>
            </a:r>
          </a:p>
          <a:p>
            <a:r>
              <a:rPr lang="en-US">
                <a:cs typeface="Arial"/>
                <a:sym typeface="Wingdings" panose="05000000000000000000" pitchFamily="2" charset="2"/>
              </a:rPr>
              <a:t>Spraying drive integration</a:t>
            </a:r>
          </a:p>
          <a:p>
            <a:pPr marL="0" indent="0">
              <a:buNone/>
            </a:pPr>
            <a:endParaRPr lang="en-US">
              <a:cs typeface="Arial"/>
              <a:sym typeface="Wingdings" panose="05000000000000000000" pitchFamily="2" charset="2"/>
            </a:endParaRPr>
          </a:p>
          <a:p>
            <a:endParaRPr lang="en-US">
              <a:cs typeface="Arial"/>
              <a:sym typeface="Wingdings" panose="05000000000000000000" pitchFamily="2" charset="2"/>
            </a:endParaRPr>
          </a:p>
          <a:p>
            <a:endParaRPr lang="en-US">
              <a:cs typeface="Arial"/>
              <a:sym typeface="Wingdings" panose="05000000000000000000" pitchFamily="2" charset="2"/>
            </a:endParaRPr>
          </a:p>
          <a:p>
            <a:endParaRPr lang="en-US" u="sng"/>
          </a:p>
          <a:p>
            <a:endParaRPr lang="en-US"/>
          </a:p>
          <a:p>
            <a:endParaRPr lang="en-US"/>
          </a:p>
          <a:p>
            <a:endParaRPr lang="en-US"/>
          </a:p>
          <a:p>
            <a:pPr marL="0" indent="0">
              <a:buNone/>
            </a:pPr>
            <a:endParaRPr lang="en-US"/>
          </a:p>
          <a:p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A1BD64E-048C-42DB-9C1A-7CDF41B2D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tential for optimization</a:t>
            </a:r>
            <a:br>
              <a:rPr lang="en-US"/>
            </a:b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8E0F6B-D7CC-44D4-98EC-63CB47B0B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C9A317-3128-410D-B1E0-12E8140460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1B3E94B-6629-49F2-A6D3-1069E822A63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7D55F517-E536-42D5-94A0-8976C45D7DE2}"/>
              </a:ext>
            </a:extLst>
          </p:cNvPr>
          <p:cNvGrpSpPr/>
          <p:nvPr/>
        </p:nvGrpSpPr>
        <p:grpSpPr>
          <a:xfrm>
            <a:off x="5774267" y="3413124"/>
            <a:ext cx="2091267" cy="2463800"/>
            <a:chOff x="6512665" y="4036490"/>
            <a:chExt cx="1655640" cy="1938704"/>
          </a:xfrm>
        </p:grpSpPr>
        <p:pic>
          <p:nvPicPr>
            <p:cNvPr id="8" name="Grafik 7" descr="Ein Bild, das drinnen, Teleskop enthält.&#10;&#10;Automatisch generierte Beschreibung">
              <a:extLst>
                <a:ext uri="{FF2B5EF4-FFF2-40B4-BE49-F238E27FC236}">
                  <a16:creationId xmlns:a16="http://schemas.microsoft.com/office/drawing/2014/main" id="{9F4E5801-F2DB-42F4-8DBE-4BD4C873B2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9560" t="15422" r="16124" b="11345"/>
            <a:stretch/>
          </p:blipFill>
          <p:spPr>
            <a:xfrm rot="5400000">
              <a:off x="6371133" y="4178022"/>
              <a:ext cx="1938704" cy="165564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D58B90BB-BD16-477F-BBF5-5830E5060719}"/>
                </a:ext>
              </a:extLst>
            </p:cNvPr>
            <p:cNvSpPr/>
            <p:nvPr/>
          </p:nvSpPr>
          <p:spPr>
            <a:xfrm>
              <a:off x="7340485" y="4273550"/>
              <a:ext cx="103832" cy="950400"/>
            </a:xfrm>
            <a:custGeom>
              <a:avLst/>
              <a:gdLst>
                <a:gd name="connsiteX0" fmla="*/ 103832 w 103832"/>
                <a:gd name="connsiteY0" fmla="*/ 0 h 950400"/>
                <a:gd name="connsiteX1" fmla="*/ 44565 w 103832"/>
                <a:gd name="connsiteY1" fmla="*/ 93133 h 950400"/>
                <a:gd name="connsiteX2" fmla="*/ 12815 w 103832"/>
                <a:gd name="connsiteY2" fmla="*/ 173567 h 950400"/>
                <a:gd name="connsiteX3" fmla="*/ 115 w 103832"/>
                <a:gd name="connsiteY3" fmla="*/ 273050 h 950400"/>
                <a:gd name="connsiteX4" fmla="*/ 19165 w 103832"/>
                <a:gd name="connsiteY4" fmla="*/ 425450 h 950400"/>
                <a:gd name="connsiteX5" fmla="*/ 50915 w 103832"/>
                <a:gd name="connsiteY5" fmla="*/ 649817 h 950400"/>
                <a:gd name="connsiteX6" fmla="*/ 95365 w 103832"/>
                <a:gd name="connsiteY6" fmla="*/ 842433 h 950400"/>
                <a:gd name="connsiteX7" fmla="*/ 72082 w 103832"/>
                <a:gd name="connsiteY7" fmla="*/ 941917 h 950400"/>
                <a:gd name="connsiteX8" fmla="*/ 21282 w 103832"/>
                <a:gd name="connsiteY8" fmla="*/ 944033 h 95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832" h="950400">
                  <a:moveTo>
                    <a:pt x="103832" y="0"/>
                  </a:moveTo>
                  <a:cubicBezTo>
                    <a:pt x="81783" y="32102"/>
                    <a:pt x="59735" y="64205"/>
                    <a:pt x="44565" y="93133"/>
                  </a:cubicBezTo>
                  <a:cubicBezTo>
                    <a:pt x="29395" y="122061"/>
                    <a:pt x="20223" y="143581"/>
                    <a:pt x="12815" y="173567"/>
                  </a:cubicBezTo>
                  <a:cubicBezTo>
                    <a:pt x="5407" y="203553"/>
                    <a:pt x="-943" y="231070"/>
                    <a:pt x="115" y="273050"/>
                  </a:cubicBezTo>
                  <a:cubicBezTo>
                    <a:pt x="1173" y="315030"/>
                    <a:pt x="10698" y="362655"/>
                    <a:pt x="19165" y="425450"/>
                  </a:cubicBezTo>
                  <a:cubicBezTo>
                    <a:pt x="27632" y="488245"/>
                    <a:pt x="38215" y="580320"/>
                    <a:pt x="50915" y="649817"/>
                  </a:cubicBezTo>
                  <a:cubicBezTo>
                    <a:pt x="63615" y="719314"/>
                    <a:pt x="91837" y="793750"/>
                    <a:pt x="95365" y="842433"/>
                  </a:cubicBezTo>
                  <a:cubicBezTo>
                    <a:pt x="98893" y="891116"/>
                    <a:pt x="84429" y="924984"/>
                    <a:pt x="72082" y="941917"/>
                  </a:cubicBezTo>
                  <a:cubicBezTo>
                    <a:pt x="59735" y="958850"/>
                    <a:pt x="29749" y="945444"/>
                    <a:pt x="21282" y="944033"/>
                  </a:cubicBezTo>
                </a:path>
              </a:pathLst>
            </a:custGeom>
            <a:ln w="19050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ABB2F843-0DCD-42FD-A926-5F7018B41BE5}"/>
                </a:ext>
              </a:extLst>
            </p:cNvPr>
            <p:cNvSpPr/>
            <p:nvPr/>
          </p:nvSpPr>
          <p:spPr>
            <a:xfrm>
              <a:off x="6851650" y="5141383"/>
              <a:ext cx="817045" cy="353617"/>
            </a:xfrm>
            <a:custGeom>
              <a:avLst/>
              <a:gdLst>
                <a:gd name="connsiteX0" fmla="*/ 0 w 817045"/>
                <a:gd name="connsiteY0" fmla="*/ 0 h 353617"/>
                <a:gd name="connsiteX1" fmla="*/ 209550 w 817045"/>
                <a:gd name="connsiteY1" fmla="*/ 65617 h 353617"/>
                <a:gd name="connsiteX2" fmla="*/ 294217 w 817045"/>
                <a:gd name="connsiteY2" fmla="*/ 148167 h 353617"/>
                <a:gd name="connsiteX3" fmla="*/ 510117 w 817045"/>
                <a:gd name="connsiteY3" fmla="*/ 311150 h 353617"/>
                <a:gd name="connsiteX4" fmla="*/ 685800 w 817045"/>
                <a:gd name="connsiteY4" fmla="*/ 353484 h 353617"/>
                <a:gd name="connsiteX5" fmla="*/ 802217 w 817045"/>
                <a:gd name="connsiteY5" fmla="*/ 302684 h 353617"/>
                <a:gd name="connsiteX6" fmla="*/ 806450 w 817045"/>
                <a:gd name="connsiteY6" fmla="*/ 245534 h 353617"/>
                <a:gd name="connsiteX7" fmla="*/ 719667 w 817045"/>
                <a:gd name="connsiteY7" fmla="*/ 232834 h 353617"/>
                <a:gd name="connsiteX8" fmla="*/ 651933 w 817045"/>
                <a:gd name="connsiteY8" fmla="*/ 247650 h 35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7045" h="353617">
                  <a:moveTo>
                    <a:pt x="0" y="0"/>
                  </a:moveTo>
                  <a:cubicBezTo>
                    <a:pt x="80257" y="20461"/>
                    <a:pt x="160514" y="40922"/>
                    <a:pt x="209550" y="65617"/>
                  </a:cubicBezTo>
                  <a:cubicBezTo>
                    <a:pt x="258586" y="90312"/>
                    <a:pt x="244123" y="107245"/>
                    <a:pt x="294217" y="148167"/>
                  </a:cubicBezTo>
                  <a:cubicBezTo>
                    <a:pt x="344312" y="189089"/>
                    <a:pt x="444853" y="276930"/>
                    <a:pt x="510117" y="311150"/>
                  </a:cubicBezTo>
                  <a:cubicBezTo>
                    <a:pt x="575381" y="345370"/>
                    <a:pt x="637117" y="354895"/>
                    <a:pt x="685800" y="353484"/>
                  </a:cubicBezTo>
                  <a:cubicBezTo>
                    <a:pt x="734483" y="352073"/>
                    <a:pt x="782109" y="320676"/>
                    <a:pt x="802217" y="302684"/>
                  </a:cubicBezTo>
                  <a:cubicBezTo>
                    <a:pt x="822325" y="284692"/>
                    <a:pt x="820208" y="257176"/>
                    <a:pt x="806450" y="245534"/>
                  </a:cubicBezTo>
                  <a:cubicBezTo>
                    <a:pt x="792692" y="233892"/>
                    <a:pt x="745420" y="232481"/>
                    <a:pt x="719667" y="232834"/>
                  </a:cubicBezTo>
                  <a:cubicBezTo>
                    <a:pt x="693914" y="233187"/>
                    <a:pt x="667103" y="245181"/>
                    <a:pt x="651933" y="247650"/>
                  </a:cubicBezTo>
                </a:path>
              </a:pathLst>
            </a:custGeom>
            <a:ln w="19050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173924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73CFA55E-C20D-4E7E-ACD4-C47CAA0D8C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76122" y="150842"/>
            <a:ext cx="1548065" cy="5827684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6B35B8C-87E5-45F0-97D2-50D9ECA35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&amp; Pyth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00B64A-4E50-4E6C-A683-E065778F4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B573F7-34B7-40BD-97AF-3917C9A13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9D495E1-092F-4F30-A028-C37503D484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E9A2E512-0C9C-4AA6-909C-2C37CD1305B8}"/>
              </a:ext>
            </a:extLst>
          </p:cNvPr>
          <p:cNvSpPr txBox="1">
            <a:spLocks/>
          </p:cNvSpPr>
          <p:nvPr/>
        </p:nvSpPr>
        <p:spPr>
          <a:xfrm>
            <a:off x="395288" y="13414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ire detecting with Machine Vison (Intel </a:t>
            </a:r>
            <a:r>
              <a:rPr lang="en-US" err="1"/>
              <a:t>Realsense</a:t>
            </a:r>
            <a:r>
              <a:rPr lang="en-US"/>
              <a:t> D435i)</a:t>
            </a:r>
          </a:p>
          <a:p>
            <a:r>
              <a:rPr lang="en-US"/>
              <a:t>Programming in Python</a:t>
            </a:r>
          </a:p>
          <a:p>
            <a:r>
              <a:rPr lang="en-US">
                <a:sym typeface="Wingdings" panose="05000000000000000000" pitchFamily="2" charset="2"/>
              </a:rPr>
              <a:t>Used libraries:</a:t>
            </a:r>
          </a:p>
          <a:p>
            <a:pPr lvl="1"/>
            <a:r>
              <a:rPr lang="en-US">
                <a:sym typeface="Wingdings" panose="05000000000000000000" pitchFamily="2" charset="2"/>
              </a:rPr>
              <a:t>Open CV (for Image processing and Machine vison)</a:t>
            </a:r>
          </a:p>
          <a:p>
            <a:pPr lvl="1"/>
            <a:r>
              <a:rPr lang="en-US">
                <a:sym typeface="Wingdings" panose="05000000000000000000" pitchFamily="2" charset="2"/>
              </a:rPr>
              <a:t>Pyrealsense2 (to use the 3D Intel Camera)</a:t>
            </a:r>
          </a:p>
          <a:p>
            <a:pPr lvl="1"/>
            <a:r>
              <a:rPr lang="en-US" err="1">
                <a:sym typeface="Wingdings" panose="05000000000000000000" pitchFamily="2" charset="2"/>
              </a:rPr>
              <a:t>Numpy</a:t>
            </a:r>
            <a:r>
              <a:rPr lang="en-US">
                <a:sym typeface="Wingdings" panose="05000000000000000000" pitchFamily="2" charset="2"/>
              </a:rPr>
              <a:t> (for Math features)</a:t>
            </a:r>
          </a:p>
          <a:p>
            <a:pPr lvl="1"/>
            <a:r>
              <a:rPr lang="en-US" err="1">
                <a:sym typeface="Wingdings" panose="05000000000000000000" pitchFamily="2" charset="2"/>
              </a:rPr>
              <a:t>PySimpleGUI</a:t>
            </a:r>
            <a:r>
              <a:rPr lang="en-US">
                <a:sym typeface="Wingdings" panose="05000000000000000000" pitchFamily="2" charset="2"/>
              </a:rPr>
              <a:t> (to convert Script into a user-friendly program)</a:t>
            </a:r>
          </a:p>
          <a:p>
            <a:pPr lvl="1"/>
            <a:r>
              <a:rPr lang="en-US">
                <a:sym typeface="Wingdings" panose="05000000000000000000" pitchFamily="2" charset="2"/>
              </a:rPr>
              <a:t>Threading (to enable Multiprocessing)</a:t>
            </a:r>
          </a:p>
          <a:p>
            <a:pPr lvl="1"/>
            <a:r>
              <a:rPr lang="en-US" err="1">
                <a:sym typeface="Wingdings" panose="05000000000000000000" pitchFamily="2" charset="2"/>
              </a:rPr>
              <a:t>Rtde_control</a:t>
            </a:r>
            <a:r>
              <a:rPr lang="en-US">
                <a:sym typeface="Wingdings" panose="05000000000000000000" pitchFamily="2" charset="2"/>
              </a:rPr>
              <a:t>, _io ,_receive (to actuate and control the </a:t>
            </a:r>
            <a:r>
              <a:rPr lang="en-US" err="1">
                <a:sym typeface="Wingdings" panose="05000000000000000000" pitchFamily="2" charset="2"/>
              </a:rPr>
              <a:t>Cobot</a:t>
            </a:r>
            <a:r>
              <a:rPr lang="en-US">
                <a:sym typeface="Wingdings" panose="05000000000000000000" pitchFamily="2" charset="2"/>
              </a:rPr>
              <a:t>)</a:t>
            </a: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59229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73CFA55E-C20D-4E7E-ACD4-C47CAA0D8C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76122" y="150842"/>
            <a:ext cx="1548065" cy="5827684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6B35B8C-87E5-45F0-97D2-50D9ECA35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aphical User Interface and Option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00B64A-4E50-4E6C-A683-E065778F4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B573F7-34B7-40BD-97AF-3917C9A13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9D495E1-092F-4F30-A028-C37503D484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E9A2E512-0C9C-4AA6-909C-2C37CD1305B8}"/>
              </a:ext>
            </a:extLst>
          </p:cNvPr>
          <p:cNvSpPr txBox="1">
            <a:spLocks/>
          </p:cNvSpPr>
          <p:nvPr/>
        </p:nvSpPr>
        <p:spPr>
          <a:xfrm>
            <a:off x="395288" y="13414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0A67D40-8D62-48B2-A20E-EE1CD76796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287" y="842846"/>
            <a:ext cx="4177955" cy="310993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317A583-7C93-4A16-8492-C3CDA153D1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4188" y="2702873"/>
            <a:ext cx="4267356" cy="3174344"/>
          </a:xfrm>
          <a:prstGeom prst="rect">
            <a:avLst/>
          </a:prstGeom>
        </p:spPr>
      </p:pic>
      <p:sp>
        <p:nvSpPr>
          <p:cNvPr id="28" name="Ellipse 27">
            <a:extLst>
              <a:ext uri="{FF2B5EF4-FFF2-40B4-BE49-F238E27FC236}">
                <a16:creationId xmlns:a16="http://schemas.microsoft.com/office/drawing/2014/main" id="{3C88B559-5301-4A0B-AD39-129C61BEFC25}"/>
              </a:ext>
            </a:extLst>
          </p:cNvPr>
          <p:cNvSpPr/>
          <p:nvPr/>
        </p:nvSpPr>
        <p:spPr>
          <a:xfrm>
            <a:off x="7276122" y="94777"/>
            <a:ext cx="1407159" cy="1610033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ln w="57150">
                <a:solidFill>
                  <a:schemeClr val="tx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90BEEA3F-4E83-45C9-81E7-852528867A12}"/>
              </a:ext>
            </a:extLst>
          </p:cNvPr>
          <p:cNvCxnSpPr/>
          <p:nvPr/>
        </p:nvCxnSpPr>
        <p:spPr>
          <a:xfrm flipH="1" flipV="1">
            <a:off x="943429" y="1161143"/>
            <a:ext cx="2188697" cy="17489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136353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nhaltsplatzhalter 7">
            <a:extLst>
              <a:ext uri="{FF2B5EF4-FFF2-40B4-BE49-F238E27FC236}">
                <a16:creationId xmlns:a16="http://schemas.microsoft.com/office/drawing/2014/main" id="{B811E8B2-B09F-4C8F-A460-D871308F82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6122" y="150842"/>
            <a:ext cx="1548065" cy="5827684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6B35B8C-87E5-45F0-97D2-50D9ECA35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oice of camera for the tire detec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00B64A-4E50-4E6C-A683-E065778F4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B573F7-34B7-40BD-97AF-3917C9A13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9D495E1-092F-4F30-A028-C37503D484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8F8E0EE7-2E74-4BFB-836F-51E784551647}"/>
              </a:ext>
            </a:extLst>
          </p:cNvPr>
          <p:cNvSpPr txBox="1">
            <a:spLocks/>
          </p:cNvSpPr>
          <p:nvPr/>
        </p:nvSpPr>
        <p:spPr>
          <a:xfrm>
            <a:off x="4114403" y="1490507"/>
            <a:ext cx="2788868" cy="4535487"/>
          </a:xfrm>
          <a:prstGeom prst="rect">
            <a:avLst/>
          </a:prstGeom>
        </p:spPr>
        <p:txBody>
          <a:bodyPr vert="horz" lIns="0" tIns="18000" rIns="0" bIns="18000" rtlCol="0" anchor="t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cs typeface="Arial"/>
              </a:rPr>
              <a:t>Tire is correctly detected in the depth cam</a:t>
            </a:r>
          </a:p>
          <a:p>
            <a:endParaRPr lang="en-US">
              <a:sym typeface="Wingdings" panose="05000000000000000000" pitchFamily="2" charset="2"/>
            </a:endParaRPr>
          </a:p>
          <a:p>
            <a:pPr marL="541020" lvl="1"/>
            <a:endParaRPr lang="en-US"/>
          </a:p>
          <a:p>
            <a:pPr marL="541020" lvl="1"/>
            <a:endParaRPr lang="en-US"/>
          </a:p>
          <a:p>
            <a:pPr marL="541020" lvl="1"/>
            <a:endParaRPr lang="en-US"/>
          </a:p>
          <a:p>
            <a:endParaRPr lang="en-US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56A7CA76-FD50-482A-A945-D9292410A8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40" t="7606" r="2977" b="6717"/>
          <a:stretch/>
        </p:blipFill>
        <p:spPr>
          <a:xfrm>
            <a:off x="827801" y="3524092"/>
            <a:ext cx="2413657" cy="2405185"/>
          </a:xfrm>
          <a:prstGeom prst="rect">
            <a:avLst/>
          </a:prstGeom>
        </p:spPr>
      </p:pic>
      <p:sp>
        <p:nvSpPr>
          <p:cNvPr id="12" name="Ellipse 11">
            <a:extLst>
              <a:ext uri="{FF2B5EF4-FFF2-40B4-BE49-F238E27FC236}">
                <a16:creationId xmlns:a16="http://schemas.microsoft.com/office/drawing/2014/main" id="{486DA953-BF20-4708-A13B-A57FF8FB77DC}"/>
              </a:ext>
            </a:extLst>
          </p:cNvPr>
          <p:cNvSpPr/>
          <p:nvPr/>
        </p:nvSpPr>
        <p:spPr>
          <a:xfrm>
            <a:off x="7440893" y="1672492"/>
            <a:ext cx="1060019" cy="554894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ln w="57150">
                <a:solidFill>
                  <a:schemeClr val="tx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Inhaltsplatzhalter 1">
            <a:extLst>
              <a:ext uri="{FF2B5EF4-FFF2-40B4-BE49-F238E27FC236}">
                <a16:creationId xmlns:a16="http://schemas.microsoft.com/office/drawing/2014/main" id="{8BFDE26D-8F9D-4760-9EF9-D08FB56559B7}"/>
              </a:ext>
            </a:extLst>
          </p:cNvPr>
          <p:cNvSpPr txBox="1">
            <a:spLocks/>
          </p:cNvSpPr>
          <p:nvPr/>
        </p:nvSpPr>
        <p:spPr>
          <a:xfrm>
            <a:off x="242961" y="1448608"/>
            <a:ext cx="3371348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7DEFECD6-D13F-4164-B803-FAFCE07CEB65}"/>
              </a:ext>
            </a:extLst>
          </p:cNvPr>
          <p:cNvSpPr txBox="1">
            <a:spLocks/>
          </p:cNvSpPr>
          <p:nvPr/>
        </p:nvSpPr>
        <p:spPr>
          <a:xfrm>
            <a:off x="327239" y="1448608"/>
            <a:ext cx="3136561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Visual distortion can appear on the normal camera, when the Tire is not centered</a:t>
            </a:r>
          </a:p>
          <a:p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pic>
        <p:nvPicPr>
          <p:cNvPr id="18" name="Grafik 17" descr="Ein Bild, das dunkel, schließen enthält.&#10;&#10;Automatisch generierte Beschreibung">
            <a:extLst>
              <a:ext uri="{FF2B5EF4-FFF2-40B4-BE49-F238E27FC236}">
                <a16:creationId xmlns:a16="http://schemas.microsoft.com/office/drawing/2014/main" id="{842417FC-560A-404A-ABB7-031F5BF2E9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4565" y="3524091"/>
            <a:ext cx="3206913" cy="2405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70236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73CFA55E-C20D-4E7E-ACD4-C47CAA0D8C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76122" y="150842"/>
            <a:ext cx="1548065" cy="5827684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6B35B8C-87E5-45F0-97D2-50D9ECA35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tecting the tir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00B64A-4E50-4E6C-A683-E065778F4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546B-1CDA-41FE-AD38-E585592752ED}" type="datetime1">
              <a:rPr lang="en-US" smtClean="0"/>
              <a:pPr/>
              <a:t>2/23/2022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B573F7-34B7-40BD-97AF-3917C9A13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9D495E1-092F-4F30-A028-C37503D484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Leon Book and Lion Ratayczak  © Continental AG</a:t>
            </a:r>
          </a:p>
        </p:txBody>
      </p:sp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E9A2E512-0C9C-4AA6-909C-2C37CD1305B8}"/>
              </a:ext>
            </a:extLst>
          </p:cNvPr>
          <p:cNvSpPr txBox="1">
            <a:spLocks/>
          </p:cNvSpPr>
          <p:nvPr/>
        </p:nvSpPr>
        <p:spPr>
          <a:xfrm>
            <a:off x="395288" y="13414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pPr lvl="1"/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07BC257-9BDF-4D1E-BA0B-B1A92A787C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846" y="1002842"/>
            <a:ext cx="2274277" cy="1705708"/>
          </a:xfrm>
          <a:prstGeom prst="rect">
            <a:avLst/>
          </a:prstGeom>
        </p:spPr>
      </p:pic>
      <p:pic>
        <p:nvPicPr>
          <p:cNvPr id="11" name="Grafik 10" descr="Ein Bild, das Text, schließen enthält.&#10;&#10;Automatisch generierte Beschreibung">
            <a:extLst>
              <a:ext uri="{FF2B5EF4-FFF2-40B4-BE49-F238E27FC236}">
                <a16:creationId xmlns:a16="http://schemas.microsoft.com/office/drawing/2014/main" id="{67942CD6-54F7-487E-889C-5FB4603134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97838" y="1015999"/>
            <a:ext cx="2274277" cy="1705708"/>
          </a:xfrm>
          <a:prstGeom prst="rect">
            <a:avLst/>
          </a:prstGeom>
        </p:spPr>
      </p:pic>
      <p:pic>
        <p:nvPicPr>
          <p:cNvPr id="13" name="Grafik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13E5EB52-7C4C-4E7F-ABCC-E91A041063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4849" y="1016022"/>
            <a:ext cx="2274278" cy="170570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7E58555E-39E9-4FDC-89FB-AE8FE6D6AAF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846" y="3118274"/>
            <a:ext cx="2274278" cy="1705708"/>
          </a:xfrm>
          <a:prstGeom prst="rect">
            <a:avLst/>
          </a:prstGeom>
        </p:spPr>
      </p:pic>
      <p:pic>
        <p:nvPicPr>
          <p:cNvPr id="19" name="Grafik 18" descr="Ein Bild, das dunkel, schließen enthält.&#10;&#10;Automatisch generierte Beschreibung">
            <a:extLst>
              <a:ext uri="{FF2B5EF4-FFF2-40B4-BE49-F238E27FC236}">
                <a16:creationId xmlns:a16="http://schemas.microsoft.com/office/drawing/2014/main" id="{C0222335-D659-4B6B-9A33-573F65E342D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7838" y="3118274"/>
            <a:ext cx="2274277" cy="1705708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0B74488B-F954-4532-B794-8BF5C9C2F0BD}"/>
              </a:ext>
            </a:extLst>
          </p:cNvPr>
          <p:cNvSpPr txBox="1"/>
          <p:nvPr/>
        </p:nvSpPr>
        <p:spPr>
          <a:xfrm>
            <a:off x="171430" y="2721707"/>
            <a:ext cx="24136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1) Get the depth cam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955611E-37E5-450F-AFFD-4271CA44AC16}"/>
              </a:ext>
            </a:extLst>
          </p:cNvPr>
          <p:cNvSpPr txBox="1"/>
          <p:nvPr/>
        </p:nvSpPr>
        <p:spPr>
          <a:xfrm>
            <a:off x="2497838" y="2725548"/>
            <a:ext cx="24136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2) Grayscale the pictur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6830C0E-7B64-4687-B6B9-B2648DD5D76F}"/>
              </a:ext>
            </a:extLst>
          </p:cNvPr>
          <p:cNvSpPr txBox="1"/>
          <p:nvPr/>
        </p:nvSpPr>
        <p:spPr>
          <a:xfrm>
            <a:off x="4817290" y="2739368"/>
            <a:ext cx="24136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3) Blur the picture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B9ADF8D-ECB9-46D3-B852-46144C5A7363}"/>
              </a:ext>
            </a:extLst>
          </p:cNvPr>
          <p:cNvSpPr txBox="1"/>
          <p:nvPr/>
        </p:nvSpPr>
        <p:spPr>
          <a:xfrm>
            <a:off x="170045" y="4843876"/>
            <a:ext cx="23277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4) Add Canny and Threshold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5F37E21-6D4F-4FF4-89C1-BCC4722E73E1}"/>
              </a:ext>
            </a:extLst>
          </p:cNvPr>
          <p:cNvSpPr txBox="1"/>
          <p:nvPr/>
        </p:nvSpPr>
        <p:spPr>
          <a:xfrm>
            <a:off x="2473323" y="4863925"/>
            <a:ext cx="37315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5) OpenCV can detect the circle in the 4. Picture which can be shown in the original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1F01B89C-BBEF-4FEE-91DE-CAC2A2D5F610}"/>
              </a:ext>
            </a:extLst>
          </p:cNvPr>
          <p:cNvSpPr/>
          <p:nvPr/>
        </p:nvSpPr>
        <p:spPr>
          <a:xfrm>
            <a:off x="7440893" y="1672492"/>
            <a:ext cx="1060019" cy="554894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ln w="57150">
                <a:solidFill>
                  <a:schemeClr val="tx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59322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HPUolg36dDlZdktINMoPUFAAAAAAADAAAAAAADAAAAAwADAAEA////////BAAAAAMAEAALXJ922v5ndEaUv1gs0mBas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DHPUolg36dDlZdktINMoPUDRGF0YQAbAAAABExpbmtlZFNoYXBlRGF0YQAFAAAAAAACTmFtZQAZAAAATGlua2VkU2hhcGVzRGF0YVByb3BlcnR5ABBWZXJzaW9uAAAAAAAJTGFzdFdyaXRlAPXYUBt/AQAAAAEA/////50AnQAAAAVfaWQAEAAAAARcn3ba/md0RpS/WCzSYFqzA0RhdGEAKgAAAAhQcmVzZW50YXRpb25TY2FubmVkRm9yTGlua2VkU2hhcGVzAAEAAk5hbWUAJAAAAExpbmtlZFNoYXBlUHJlc2VudGF0aW9uU2V0dGluZ3NEYXRhABBWZXJzaW9uAAAAAAAJTGFzdFdyaXRlALzZUBt/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Third-Party Confidenti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EK" val="10312"/>
  <p:tag name="MIO_FALLBACK_LAYOUT" val="14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8"/>
  <p:tag name="MIO_HDS" val="True"/>
  <p:tag name="MIO_SKIPVERSION" val="01.01.0001 00:00:00"/>
  <p:tag name="MIO_EKGUID" val="14f4f59a-4936-4ad9-b752-a4185935df60"/>
  <p:tag name="MIO_UPDATE" val="True"/>
  <p:tag name="MIO_VERSION" val="10.05.2020 10:21:03"/>
  <p:tag name="MIO_DBID" val="28AD0E67-88F4-4826-B6CB-8EA6DE4EF11B"/>
  <p:tag name="MIO_LASTDOWNLOADED" val="21.02.2022 09:05:57.519"/>
  <p:tag name="MIO_OBJECTNAME" val="Tires internal 4x3"/>
  <p:tag name="MIO_CDID" val="9677c7d7-49c5-4e73-aebe-0538a8a8edf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2A1384515992542933AD83ABA088F09" ma:contentTypeVersion="11" ma:contentTypeDescription="Ein neues Dokument erstellen." ma:contentTypeScope="" ma:versionID="655dc96b47e9b1cad4278a9ec3cbcec0">
  <xsd:schema xmlns:xsd="http://www.w3.org/2001/XMLSchema" xmlns:xs="http://www.w3.org/2001/XMLSchema" xmlns:p="http://schemas.microsoft.com/office/2006/metadata/properties" xmlns:ns2="3e252c34-e51f-4e5a-b3f6-0817a528fd0d" targetNamespace="http://schemas.microsoft.com/office/2006/metadata/properties" ma:root="true" ma:fieldsID="fd9248c1387c3187b8d3efcd5848ea90" ns2:_="">
    <xsd:import namespace="3e252c34-e51f-4e5a-b3f6-0817a528fd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252c34-e51f-4e5a-b3f6-0817a528fd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3375722-726F-4A70-9FD6-501694A9E661}"/>
</file>

<file path=customXml/itemProps2.xml><?xml version="1.0" encoding="utf-8"?>
<ds:datastoreItem xmlns:ds="http://schemas.openxmlformats.org/officeDocument/2006/customXml" ds:itemID="{D7C83C7E-8538-4BFB-B0F3-AF6D8CABC6B0}"/>
</file>

<file path=customXml/itemProps3.xml><?xml version="1.0" encoding="utf-8"?>
<ds:datastoreItem xmlns:ds="http://schemas.openxmlformats.org/officeDocument/2006/customXml" ds:itemID="{8417FD1A-3237-42C3-9607-31F02CAAC895}"/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On-screen Show (4:3)</PresentationFormat>
  <Slides>16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Continental AG, 4x3</vt:lpstr>
      <vt:lpstr>Automatic tire inside spraying</vt:lpstr>
      <vt:lpstr>Description</vt:lpstr>
      <vt:lpstr>Mechanical Integration of COBOT</vt:lpstr>
      <vt:lpstr>Spraying tool </vt:lpstr>
      <vt:lpstr>Potential for optimization </vt:lpstr>
      <vt:lpstr>Process &amp; Python</vt:lpstr>
      <vt:lpstr>Graphical User Interface and Options</vt:lpstr>
      <vt:lpstr>Choice of camera for the tire detection</vt:lpstr>
      <vt:lpstr>Detecting the tire</vt:lpstr>
      <vt:lpstr>Accepting the detection</vt:lpstr>
      <vt:lpstr>Calculating the height</vt:lpstr>
      <vt:lpstr>Detecting the Barcode</vt:lpstr>
      <vt:lpstr>User acceptance</vt:lpstr>
      <vt:lpstr>Moving the Robot and Spraying the Tire</vt:lpstr>
      <vt:lpstr>Time for a live Demo!</vt:lpstr>
      <vt:lpstr>Thank you for your attention!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Leon Kirchner_ext</dc:creator>
  <cp:revision>1</cp:revision>
  <dcterms:created xsi:type="dcterms:W3CDTF">2017-07-10T13:09:09Z</dcterms:created>
  <dcterms:modified xsi:type="dcterms:W3CDTF">2022-02-24T07:5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006a9c5-d130-408c-bc8e-3b5ecdb17aa0_Enabled">
    <vt:lpwstr>true</vt:lpwstr>
  </property>
  <property fmtid="{D5CDD505-2E9C-101B-9397-08002B2CF9AE}" pid="3" name="MSIP_Label_6006a9c5-d130-408c-bc8e-3b5ecdb17aa0_SetDate">
    <vt:lpwstr>2022-02-21T10:03:17Z</vt:lpwstr>
  </property>
  <property fmtid="{D5CDD505-2E9C-101B-9397-08002B2CF9AE}" pid="4" name="MSIP_Label_6006a9c5-d130-408c-bc8e-3b5ecdb17aa0_Method">
    <vt:lpwstr>Standard</vt:lpwstr>
  </property>
  <property fmtid="{D5CDD505-2E9C-101B-9397-08002B2CF9AE}" pid="5" name="MSIP_Label_6006a9c5-d130-408c-bc8e-3b5ecdb17aa0_Name">
    <vt:lpwstr>Recipients Have Full Control​</vt:lpwstr>
  </property>
  <property fmtid="{D5CDD505-2E9C-101B-9397-08002B2CF9AE}" pid="6" name="MSIP_Label_6006a9c5-d130-408c-bc8e-3b5ecdb17aa0_SiteId">
    <vt:lpwstr>8d4b558f-7b2e-40ba-ad1f-e04d79e6265a</vt:lpwstr>
  </property>
  <property fmtid="{D5CDD505-2E9C-101B-9397-08002B2CF9AE}" pid="7" name="MSIP_Label_6006a9c5-d130-408c-bc8e-3b5ecdb17aa0_ActionId">
    <vt:lpwstr>d8ca8e23-a18a-48b4-a1fd-e16a0378b709</vt:lpwstr>
  </property>
  <property fmtid="{D5CDD505-2E9C-101B-9397-08002B2CF9AE}" pid="8" name="MSIP_Label_6006a9c5-d130-408c-bc8e-3b5ecdb17aa0_ContentBits">
    <vt:lpwstr>2</vt:lpwstr>
  </property>
  <property fmtid="{D5CDD505-2E9C-101B-9397-08002B2CF9AE}" pid="9" name="ContentTypeId">
    <vt:lpwstr>0x010100E2A1384515992542933AD83ABA088F09</vt:lpwstr>
  </property>
</Properties>
</file>